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45" r:id="rId5"/>
    <p:sldMasterId id="2147484187" r:id="rId6"/>
    <p:sldMasterId id="2147484201" r:id="rId7"/>
    <p:sldMasterId id="2147484213" r:id="rId8"/>
    <p:sldMasterId id="2147484228" r:id="rId9"/>
  </p:sldMasterIdLst>
  <p:notesMasterIdLst>
    <p:notesMasterId r:id="rId29"/>
  </p:notesMasterIdLst>
  <p:handoutMasterIdLst>
    <p:handoutMasterId r:id="rId30"/>
  </p:handoutMasterIdLst>
  <p:sldIdLst>
    <p:sldId id="302" r:id="rId10"/>
    <p:sldId id="282" r:id="rId11"/>
    <p:sldId id="2147476253" r:id="rId12"/>
    <p:sldId id="2147476245" r:id="rId13"/>
    <p:sldId id="2147375222" r:id="rId14"/>
    <p:sldId id="2147476254" r:id="rId15"/>
    <p:sldId id="2147476246" r:id="rId16"/>
    <p:sldId id="2147476256" r:id="rId17"/>
    <p:sldId id="2147375221" r:id="rId18"/>
    <p:sldId id="2147476247" r:id="rId19"/>
    <p:sldId id="2147476255" r:id="rId20"/>
    <p:sldId id="2147476258" r:id="rId21"/>
    <p:sldId id="2147476257" r:id="rId22"/>
    <p:sldId id="2147476259" r:id="rId23"/>
    <p:sldId id="2147469921" r:id="rId24"/>
    <p:sldId id="2147469927" r:id="rId25"/>
    <p:sldId id="2147476251" r:id="rId26"/>
    <p:sldId id="2147469933" r:id="rId27"/>
    <p:sldId id="2147476260" r:id="rId28"/>
  </p:sldIdLst>
  <p:sldSz cx="12190413" cy="6858000"/>
  <p:notesSz cx="6888163" cy="100203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B244EEDC-97AF-4BE5-9D87-79CD30E25A2C}">
          <p14:sldIdLst>
            <p14:sldId id="302"/>
            <p14:sldId id="282"/>
            <p14:sldId id="2147476253"/>
            <p14:sldId id="2147476245"/>
          </p14:sldIdLst>
        </p14:section>
        <p14:section name="Darolutamide Induces Robust and Durable PSA Responses" id="{703CA870-8A7A-4A07-A186-F5790FC15572}">
          <p14:sldIdLst>
            <p14:sldId id="2147375222"/>
            <p14:sldId id="2147476254"/>
            <p14:sldId id="2147476246"/>
            <p14:sldId id="2147476256"/>
            <p14:sldId id="2147375221"/>
            <p14:sldId id="2147476247"/>
            <p14:sldId id="2147476255"/>
            <p14:sldId id="2147476258"/>
            <p14:sldId id="2147476257"/>
            <p14:sldId id="2147476259"/>
            <p14:sldId id="2147469921"/>
            <p14:sldId id="2147469927"/>
            <p14:sldId id="2147476251"/>
            <p14:sldId id="2147469933"/>
            <p14:sldId id="2147476260"/>
          </p14:sldIdLst>
        </p14:section>
        <p14:section name="Backup" id="{A2CDA7C7-F59C-4816-A6EB-A3DC15972F1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2DAC3E-A804-0484-1A5D-315B6B53858A}" name="Lindsay Grant (HCG)" initials="LG(" userId="S::lindsay.grant@hcg-int.com::03413952-a45a-4ef7-b90d-843be4e68be1" providerId="AD"/>
  <p188:author id="{41DC3BD0-4098-0E8C-6B3D-8083CA3605EA}" name="Jorge Ortiz" initials="JO" userId="S::jorge.ortiz@bayer.com::621b2c54-6386-4e13-8e84-871c5d84f7e5" providerId="AD"/>
  <p188:author id="{D90014DD-5A8C-32C2-1564-758ECCE1E246}" name="Teshan Aponso (HCG)" initials="TA (HCG)" userId="Teshan Aponso (HCG)"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ra U" initials="CU" lastIdx="269" clrIdx="0">
    <p:extLst>
      <p:ext uri="{19B8F6BF-5375-455C-9EA6-DF929625EA0E}">
        <p15:presenceInfo xmlns:p15="http://schemas.microsoft.com/office/powerpoint/2012/main" userId="S::cara.u.ext@bayer.com::7de760d5-5a5a-4a5d-9eb1-b5c42c8eab2b" providerId="AD"/>
      </p:ext>
    </p:extLst>
  </p:cmAuthor>
  <p:cmAuthor id="2" name="Daina Nanchanatt" initials="DN [3]" lastIdx="155" clrIdx="1">
    <p:extLst>
      <p:ext uri="{19B8F6BF-5375-455C-9EA6-DF929625EA0E}">
        <p15:presenceInfo xmlns:p15="http://schemas.microsoft.com/office/powerpoint/2012/main" userId="S::daina.nanchanatt@bayer.com::7c99035d-649c-4f51-9b59-1d5d5e316e62" providerId="AD"/>
      </p:ext>
    </p:extLst>
  </p:cmAuthor>
  <p:cmAuthor id="3" name="Renee Symonds" initials="RS" lastIdx="896" clrIdx="2">
    <p:extLst>
      <p:ext uri="{19B8F6BF-5375-455C-9EA6-DF929625EA0E}">
        <p15:presenceInfo xmlns:p15="http://schemas.microsoft.com/office/powerpoint/2012/main" userId="Renee Symonds" providerId="None"/>
      </p:ext>
    </p:extLst>
  </p:cmAuthor>
  <p:cmAuthor id="4" name="Heidi Reinholdt" initials="HGR" lastIdx="131" clrIdx="3">
    <p:extLst>
      <p:ext uri="{19B8F6BF-5375-455C-9EA6-DF929625EA0E}">
        <p15:presenceInfo xmlns:p15="http://schemas.microsoft.com/office/powerpoint/2012/main" userId="Heidi Reinholdt" providerId="None"/>
      </p:ext>
    </p:extLst>
  </p:cmAuthor>
  <p:cmAuthor id="5" name="Justin Potuzak (HCG)" initials="JP(" lastIdx="61" clrIdx="4">
    <p:extLst>
      <p:ext uri="{19B8F6BF-5375-455C-9EA6-DF929625EA0E}">
        <p15:presenceInfo xmlns:p15="http://schemas.microsoft.com/office/powerpoint/2012/main" userId="S::jpotuzak@hcg-int.com::4e5e8e03-8339-4620-bbd4-42dd843bb355" providerId="AD"/>
      </p:ext>
    </p:extLst>
  </p:cmAuthor>
  <p:cmAuthor id="6" name="Steve Liang" initials="SL" lastIdx="27" clrIdx="5">
    <p:extLst>
      <p:ext uri="{19B8F6BF-5375-455C-9EA6-DF929625EA0E}">
        <p15:presenceInfo xmlns:p15="http://schemas.microsoft.com/office/powerpoint/2012/main" userId="S::steve.liang@bayer.com::5bc1a3c8-c5ea-431d-8b36-7f6a2771d921" providerId="AD"/>
      </p:ext>
    </p:extLst>
  </p:cmAuthor>
  <p:cmAuthor id="7" name="Juliana Leslie (HCG)" initials="JL(" lastIdx="7" clrIdx="6">
    <p:extLst>
      <p:ext uri="{19B8F6BF-5375-455C-9EA6-DF929625EA0E}">
        <p15:presenceInfo xmlns:p15="http://schemas.microsoft.com/office/powerpoint/2012/main" userId="S::jleslie@hcg-int.com::82b276ba-88bc-4056-8364-359c6922a7bd" providerId="AD"/>
      </p:ext>
    </p:extLst>
  </p:cmAuthor>
  <p:cmAuthor id="8" name="Kat Mezic" initials="KM" lastIdx="58" clrIdx="7">
    <p:extLst>
      <p:ext uri="{19B8F6BF-5375-455C-9EA6-DF929625EA0E}">
        <p15:presenceInfo xmlns:p15="http://schemas.microsoft.com/office/powerpoint/2012/main" userId="Kat Mezic" providerId="None"/>
      </p:ext>
    </p:extLst>
  </p:cmAuthor>
  <p:cmAuthor id="9" name="Kevin Lin (HCG)" initials="KL(" lastIdx="356" clrIdx="8">
    <p:extLst>
      <p:ext uri="{19B8F6BF-5375-455C-9EA6-DF929625EA0E}">
        <p15:presenceInfo xmlns:p15="http://schemas.microsoft.com/office/powerpoint/2012/main" userId="S::kevin.lin@hcg-int.com::d387df25-7e3e-427b-b8a5-7a555ffc9c05" providerId="AD"/>
      </p:ext>
    </p:extLst>
  </p:cmAuthor>
  <p:cmAuthor id="10" name="Teshan Aponso (HCG)" initials="TA(" lastIdx="10" clrIdx="9">
    <p:extLst>
      <p:ext uri="{19B8F6BF-5375-455C-9EA6-DF929625EA0E}">
        <p15:presenceInfo xmlns:p15="http://schemas.microsoft.com/office/powerpoint/2012/main" userId="S::teshan.aponso@hcg-int.com::c82bc83e-ef0c-451a-be61-d24f935b97d1" providerId="AD"/>
      </p:ext>
    </p:extLst>
  </p:cmAuthor>
  <p:cmAuthor id="11" name="Chameleon" initials="Chameleon" lastIdx="5" clrIdx="10">
    <p:extLst>
      <p:ext uri="{19B8F6BF-5375-455C-9EA6-DF929625EA0E}">
        <p15:presenceInfo xmlns:p15="http://schemas.microsoft.com/office/powerpoint/2012/main" userId="Chameleon" providerId="None"/>
      </p:ext>
    </p:extLst>
  </p:cmAuthor>
  <p:cmAuthor id="12" name="Jorge Ortiz" initials="JO" lastIdx="7" clrIdx="11">
    <p:extLst>
      <p:ext uri="{19B8F6BF-5375-455C-9EA6-DF929625EA0E}">
        <p15:presenceInfo xmlns:p15="http://schemas.microsoft.com/office/powerpoint/2012/main" userId="S::jorge.ortiz@bayer.com::621b2c54-6386-4e13-8e84-871c5d84f7e5" providerId="AD"/>
      </p:ext>
    </p:extLst>
  </p:cmAuthor>
  <p:cmAuthor id="13" name="Kevin Lin" initials="KL" lastIdx="65" clrIdx="12">
    <p:extLst>
      <p:ext uri="{19B8F6BF-5375-455C-9EA6-DF929625EA0E}">
        <p15:presenceInfo xmlns:p15="http://schemas.microsoft.com/office/powerpoint/2012/main" userId="Kevin Lin" providerId="None"/>
      </p:ext>
    </p:extLst>
  </p:cmAuthor>
  <p:cmAuthor id="14" name="Lindsay Grant (HCG)" initials="LG(" lastIdx="58" clrIdx="13">
    <p:extLst>
      <p:ext uri="{19B8F6BF-5375-455C-9EA6-DF929625EA0E}">
        <p15:presenceInfo xmlns:p15="http://schemas.microsoft.com/office/powerpoint/2012/main" userId="S::lindsay.grant@hcg-int.com::03413952-a45a-4ef7-b90d-843be4e68be1" providerId="AD"/>
      </p:ext>
    </p:extLst>
  </p:cmAuthor>
  <p:cmAuthor id="15" name="Justin Potuzak" initials="JP" lastIdx="497" clrIdx="14">
    <p:extLst>
      <p:ext uri="{19B8F6BF-5375-455C-9EA6-DF929625EA0E}">
        <p15:presenceInfo xmlns:p15="http://schemas.microsoft.com/office/powerpoint/2012/main" userId="Justin Potuzak" providerId="None"/>
      </p:ext>
    </p:extLst>
  </p:cmAuthor>
  <p:cmAuthor id="16" name="Teshan Aponso (HCG)" initials="TA (HCG)" lastIdx="194" clrIdx="15">
    <p:extLst>
      <p:ext uri="{19B8F6BF-5375-455C-9EA6-DF929625EA0E}">
        <p15:presenceInfo xmlns:p15="http://schemas.microsoft.com/office/powerpoint/2012/main" userId="Teshan Aponso (HCG)" providerId="None"/>
      </p:ext>
    </p:extLst>
  </p:cmAuthor>
  <p:cmAuthor id="17" name="Shiyun Huang" initials="SH" lastIdx="170" clrIdx="16"/>
  <p:cmAuthor id="18" name="Shivani Kapur" initials="SK" lastIdx="11" clrIdx="17">
    <p:extLst>
      <p:ext uri="{19B8F6BF-5375-455C-9EA6-DF929625EA0E}">
        <p15:presenceInfo xmlns:p15="http://schemas.microsoft.com/office/powerpoint/2012/main" userId="S::shivani.kapur@bayer.com::a5c75f01-201c-41d8-89d0-f7399ca34aea" providerId="AD"/>
      </p:ext>
    </p:extLst>
  </p:cmAuthor>
  <p:cmAuthor id="19" name="Patrick Adorjan" initials="PA" lastIdx="38" clrIdx="18">
    <p:extLst>
      <p:ext uri="{19B8F6BF-5375-455C-9EA6-DF929625EA0E}">
        <p15:presenceInfo xmlns:p15="http://schemas.microsoft.com/office/powerpoint/2012/main" userId="S::patrick.adorjan@bayer.com::627ad03f-7fbc-412d-9e02-bf1867f22a4f" providerId="AD"/>
      </p:ext>
    </p:extLst>
  </p:cmAuthor>
  <p:cmAuthor id="20" name="Polina Novichenok" initials="PN" lastIdx="12" clrIdx="19">
    <p:extLst>
      <p:ext uri="{19B8F6BF-5375-455C-9EA6-DF929625EA0E}">
        <p15:presenceInfo xmlns:p15="http://schemas.microsoft.com/office/powerpoint/2012/main" userId="Polina Novichenok" providerId="None"/>
      </p:ext>
    </p:extLst>
  </p:cmAuthor>
  <p:cmAuthor id="21" name="Audrey Hopkins" initials="AH" lastIdx="1" clrIdx="20">
    <p:extLst>
      <p:ext uri="{19B8F6BF-5375-455C-9EA6-DF929625EA0E}">
        <p15:presenceInfo xmlns:p15="http://schemas.microsoft.com/office/powerpoint/2012/main" userId="S::audrey.hopkins@bayer.com::04d714fe-641e-4627-8805-92f6f1f41b3b" providerId="AD"/>
      </p:ext>
    </p:extLst>
  </p:cmAuthor>
  <p:cmAuthor id="22" name="Ingeborg van Cruechten" initials="IvC" lastIdx="30" clrIdx="21">
    <p:extLst>
      <p:ext uri="{19B8F6BF-5375-455C-9EA6-DF929625EA0E}">
        <p15:presenceInfo xmlns:p15="http://schemas.microsoft.com/office/powerpoint/2012/main" userId="S::ingeborg.vancruechten@bayer.com::184d7bc7-2933-4e49-8383-d7774bed409a" providerId="AD"/>
      </p:ext>
    </p:extLst>
  </p:cmAuthor>
  <p:cmAuthor id="23" name="Jana Burkhardt" initials="JB" lastIdx="40" clrIdx="22">
    <p:extLst>
      <p:ext uri="{19B8F6BF-5375-455C-9EA6-DF929625EA0E}">
        <p15:presenceInfo xmlns:p15="http://schemas.microsoft.com/office/powerpoint/2012/main" userId="S::jana.burkhardt@bayer.com::35d0105c-ee00-4d08-867d-1f97183aa5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2FF"/>
    <a:srgbClr val="E7F7D4"/>
    <a:srgbClr val="FFD6E0"/>
    <a:srgbClr val="89D329"/>
    <a:srgbClr val="2175A5"/>
    <a:srgbClr val="52AADC"/>
    <a:srgbClr val="BFBFBF"/>
    <a:srgbClr val="10384F"/>
    <a:srgbClr val="005E7F"/>
    <a:srgbClr val="99E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4229EB-1587-46F9-A145-DABF08C02510}" v="41" dt="2024-06-07T09:08:51.0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1528" autoAdjust="0"/>
  </p:normalViewPr>
  <p:slideViewPr>
    <p:cSldViewPr snapToGrid="0">
      <p:cViewPr varScale="1">
        <p:scale>
          <a:sx n="131" d="100"/>
          <a:sy n="131" d="100"/>
        </p:scale>
        <p:origin x="1408" y="88"/>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25" d="100"/>
        <a:sy n="125" d="100"/>
      </p:scale>
      <p:origin x="0" y="0"/>
    </p:cViewPr>
  </p:notesTextViewPr>
  <p:notesViewPr>
    <p:cSldViewPr snapToGrid="0">
      <p:cViewPr varScale="1">
        <p:scale>
          <a:sx n="73" d="100"/>
          <a:sy n="73" d="100"/>
        </p:scale>
        <p:origin x="4050" y="84"/>
      </p:cViewPr>
      <p:guideLst>
        <p:guide orient="horz" pos="2880"/>
        <p:guide pos="2160"/>
        <p:guide orient="horz" pos="2857"/>
        <p:guide pos="19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Bauer" userId="59c3e81d-8f8c-46f7-acfd-fef1fb9220f5" providerId="ADAL" clId="{8FE931CD-66B5-451C-8AB8-845E6E99FCD8}"/>
    <pc:docChg chg="undo redo custSel addSld delSld modSld sldOrd modMainMaster delSection modSection">
      <pc:chgData name="Michael Bauer" userId="59c3e81d-8f8c-46f7-acfd-fef1fb9220f5" providerId="ADAL" clId="{8FE931CD-66B5-451C-8AB8-845E6E99FCD8}" dt="2024-05-08T15:15:50.234" v="1985" actId="20577"/>
      <pc:docMkLst>
        <pc:docMk/>
      </pc:docMkLst>
      <pc:sldChg chg="del">
        <pc:chgData name="Michael Bauer" userId="59c3e81d-8f8c-46f7-acfd-fef1fb9220f5" providerId="ADAL" clId="{8FE931CD-66B5-451C-8AB8-845E6E99FCD8}" dt="2024-05-06T15:37:43.985" v="110" actId="2696"/>
        <pc:sldMkLst>
          <pc:docMk/>
          <pc:sldMk cId="3255217875" sldId="1534"/>
        </pc:sldMkLst>
      </pc:sldChg>
      <pc:sldChg chg="del">
        <pc:chgData name="Michael Bauer" userId="59c3e81d-8f8c-46f7-acfd-fef1fb9220f5" providerId="ADAL" clId="{8FE931CD-66B5-451C-8AB8-845E6E99FCD8}" dt="2024-05-06T12:48:38.017" v="2" actId="2696"/>
        <pc:sldMkLst>
          <pc:docMk/>
          <pc:sldMk cId="2162300778" sldId="2290"/>
        </pc:sldMkLst>
      </pc:sldChg>
      <pc:sldChg chg="del">
        <pc:chgData name="Michael Bauer" userId="59c3e81d-8f8c-46f7-acfd-fef1fb9220f5" providerId="ADAL" clId="{8FE931CD-66B5-451C-8AB8-845E6E99FCD8}" dt="2024-05-06T15:52:48.796" v="416" actId="2696"/>
        <pc:sldMkLst>
          <pc:docMk/>
          <pc:sldMk cId="3994582403" sldId="2392"/>
        </pc:sldMkLst>
      </pc:sldChg>
      <pc:sldChg chg="del">
        <pc:chgData name="Michael Bauer" userId="59c3e81d-8f8c-46f7-acfd-fef1fb9220f5" providerId="ADAL" clId="{8FE931CD-66B5-451C-8AB8-845E6E99FCD8}" dt="2024-05-06T15:52:30.929" v="414" actId="2696"/>
        <pc:sldMkLst>
          <pc:docMk/>
          <pc:sldMk cId="193111265" sldId="13693"/>
        </pc:sldMkLst>
      </pc:sldChg>
      <pc:sldChg chg="addSp delSp modSp mod ord modClrScheme chgLayout">
        <pc:chgData name="Michael Bauer" userId="59c3e81d-8f8c-46f7-acfd-fef1fb9220f5" providerId="ADAL" clId="{8FE931CD-66B5-451C-8AB8-845E6E99FCD8}" dt="2024-05-08T15:13:48.752" v="1972" actId="242"/>
        <pc:sldMkLst>
          <pc:docMk/>
          <pc:sldMk cId="3097239452" sldId="13948"/>
        </pc:sldMkLst>
        <pc:spChg chg="mod ord">
          <ac:chgData name="Michael Bauer" userId="59c3e81d-8f8c-46f7-acfd-fef1fb9220f5" providerId="ADAL" clId="{8FE931CD-66B5-451C-8AB8-845E6E99FCD8}" dt="2024-05-08T11:54:25.245" v="1754" actId="1076"/>
          <ac:spMkLst>
            <pc:docMk/>
            <pc:sldMk cId="3097239452" sldId="13948"/>
            <ac:spMk id="2" creationId="{C0097B04-22A1-4B6A-8BB3-17C5A50F75E9}"/>
          </ac:spMkLst>
        </pc:spChg>
        <pc:spChg chg="mod ord">
          <ac:chgData name="Michael Bauer" userId="59c3e81d-8f8c-46f7-acfd-fef1fb9220f5" providerId="ADAL" clId="{8FE931CD-66B5-451C-8AB8-845E6E99FCD8}" dt="2024-05-08T11:51:05.811" v="1721" actId="14100"/>
          <ac:spMkLst>
            <pc:docMk/>
            <pc:sldMk cId="3097239452" sldId="13948"/>
            <ac:spMk id="3" creationId="{540125D9-9B40-419B-B8FA-7CB4C29CD03A}"/>
          </ac:spMkLst>
        </pc:spChg>
        <pc:spChg chg="del mod">
          <ac:chgData name="Michael Bauer" userId="59c3e81d-8f8c-46f7-acfd-fef1fb9220f5" providerId="ADAL" clId="{8FE931CD-66B5-451C-8AB8-845E6E99FCD8}" dt="2024-05-07T08:00:21.346" v="517" actId="478"/>
          <ac:spMkLst>
            <pc:docMk/>
            <pc:sldMk cId="3097239452" sldId="13948"/>
            <ac:spMk id="4" creationId="{47223EDC-E3B1-462D-A3F3-1D6EC965BCD6}"/>
          </ac:spMkLst>
        </pc:spChg>
        <pc:spChg chg="del">
          <ac:chgData name="Michael Bauer" userId="59c3e81d-8f8c-46f7-acfd-fef1fb9220f5" providerId="ADAL" clId="{8FE931CD-66B5-451C-8AB8-845E6E99FCD8}" dt="2024-05-07T08:00:15.225" v="515" actId="478"/>
          <ac:spMkLst>
            <pc:docMk/>
            <pc:sldMk cId="3097239452" sldId="13948"/>
            <ac:spMk id="5" creationId="{25EE8DB6-35E5-4D37-A9C9-05703210D8A9}"/>
          </ac:spMkLst>
        </pc:spChg>
        <pc:spChg chg="mod">
          <ac:chgData name="Michael Bauer" userId="59c3e81d-8f8c-46f7-acfd-fef1fb9220f5" providerId="ADAL" clId="{8FE931CD-66B5-451C-8AB8-845E6E99FCD8}" dt="2024-05-08T11:54:02.019" v="1752" actId="1076"/>
          <ac:spMkLst>
            <pc:docMk/>
            <pc:sldMk cId="3097239452" sldId="13948"/>
            <ac:spMk id="6" creationId="{BE0618A6-753E-EB27-0CE6-2AE90E2E0084}"/>
          </ac:spMkLst>
        </pc:spChg>
        <pc:spChg chg="add del mod ord">
          <ac:chgData name="Michael Bauer" userId="59c3e81d-8f8c-46f7-acfd-fef1fb9220f5" providerId="ADAL" clId="{8FE931CD-66B5-451C-8AB8-845E6E99FCD8}" dt="2024-05-07T08:00:25.723" v="518" actId="478"/>
          <ac:spMkLst>
            <pc:docMk/>
            <pc:sldMk cId="3097239452" sldId="13948"/>
            <ac:spMk id="7" creationId="{EBA743B3-9E70-D0DE-1C13-253F0FC7CAF4}"/>
          </ac:spMkLst>
        </pc:spChg>
        <pc:spChg chg="add del mod ord">
          <ac:chgData name="Michael Bauer" userId="59c3e81d-8f8c-46f7-acfd-fef1fb9220f5" providerId="ADAL" clId="{8FE931CD-66B5-451C-8AB8-845E6E99FCD8}" dt="2024-05-08T11:51:09.972" v="1722" actId="478"/>
          <ac:spMkLst>
            <pc:docMk/>
            <pc:sldMk cId="3097239452" sldId="13948"/>
            <ac:spMk id="8" creationId="{436E246D-AA85-4673-740B-389F5C0A4AC8}"/>
          </ac:spMkLst>
        </pc:spChg>
        <pc:spChg chg="add mod">
          <ac:chgData name="Michael Bauer" userId="59c3e81d-8f8c-46f7-acfd-fef1fb9220f5" providerId="ADAL" clId="{8FE931CD-66B5-451C-8AB8-845E6E99FCD8}" dt="2024-05-08T15:13:48.752" v="1972" actId="242"/>
          <ac:spMkLst>
            <pc:docMk/>
            <pc:sldMk cId="3097239452" sldId="13948"/>
            <ac:spMk id="9" creationId="{E025FD18-C1D4-829B-61B0-797041D6406B}"/>
          </ac:spMkLst>
        </pc:spChg>
      </pc:sldChg>
      <pc:sldChg chg="delSp modSp mod modNotesTx">
        <pc:chgData name="Michael Bauer" userId="59c3e81d-8f8c-46f7-acfd-fef1fb9220f5" providerId="ADAL" clId="{8FE931CD-66B5-451C-8AB8-845E6E99FCD8}" dt="2024-05-08T15:15:03.172" v="1977" actId="20577"/>
        <pc:sldMkLst>
          <pc:docMk/>
          <pc:sldMk cId="4066212355" sldId="2147375221"/>
        </pc:sldMkLst>
        <pc:spChg chg="del replST delST">
          <ac:chgData name="Michael Bauer" userId="59c3e81d-8f8c-46f7-acfd-fef1fb9220f5" providerId="ADAL" clId="{8FE931CD-66B5-451C-8AB8-845E6E99FCD8}" dt="2024-05-06T15:41:12.163" v="132" actId="478"/>
          <ac:spMkLst>
            <pc:docMk/>
            <pc:sldMk cId="4066212355" sldId="2147375221"/>
            <ac:spMk id="13" creationId="{3E44039E-0E01-43B2-8F8E-52E63947CCDC}"/>
          </ac:spMkLst>
        </pc:spChg>
        <pc:spChg chg="del">
          <ac:chgData name="Michael Bauer" userId="59c3e81d-8f8c-46f7-acfd-fef1fb9220f5" providerId="ADAL" clId="{8FE931CD-66B5-451C-8AB8-845E6E99FCD8}" dt="2024-05-06T15:39:07.916" v="115" actId="478"/>
          <ac:spMkLst>
            <pc:docMk/>
            <pc:sldMk cId="4066212355" sldId="2147375221"/>
            <ac:spMk id="17" creationId="{DEDC0725-1F03-4148-8DDB-3FBEBB24B38C}"/>
          </ac:spMkLst>
        </pc:spChg>
        <pc:spChg chg="mod">
          <ac:chgData name="Michael Bauer" userId="59c3e81d-8f8c-46f7-acfd-fef1fb9220f5" providerId="ADAL" clId="{8FE931CD-66B5-451C-8AB8-845E6E99FCD8}" dt="2024-05-06T15:42:28.699" v="171" actId="404"/>
          <ac:spMkLst>
            <pc:docMk/>
            <pc:sldMk cId="4066212355" sldId="2147375221"/>
            <ac:spMk id="23" creationId="{2526FF38-5CA1-43DF-A513-829624073D05}"/>
          </ac:spMkLst>
        </pc:spChg>
        <pc:spChg chg="mod">
          <ac:chgData name="Michael Bauer" userId="59c3e81d-8f8c-46f7-acfd-fef1fb9220f5" providerId="ADAL" clId="{8FE931CD-66B5-451C-8AB8-845E6E99FCD8}" dt="2024-05-08T09:11:46.009" v="1111"/>
          <ac:spMkLst>
            <pc:docMk/>
            <pc:sldMk cId="4066212355" sldId="2147375221"/>
            <ac:spMk id="31" creationId="{199D554E-8A05-458E-A83F-2A9D5D230F21}"/>
          </ac:spMkLst>
        </pc:spChg>
        <pc:spChg chg="del replST delST">
          <ac:chgData name="Michael Bauer" userId="59c3e81d-8f8c-46f7-acfd-fef1fb9220f5" providerId="ADAL" clId="{8FE931CD-66B5-451C-8AB8-845E6E99FCD8}" dt="2024-05-06T15:41:12.163" v="132" actId="478"/>
          <ac:spMkLst>
            <pc:docMk/>
            <pc:sldMk cId="4066212355" sldId="2147375221"/>
            <ac:spMk id="147" creationId="{7F7F23EF-130F-4998-9529-1AC3BF262D40}"/>
          </ac:spMkLst>
        </pc:spChg>
        <pc:grpChg chg="mod">
          <ac:chgData name="Michael Bauer" userId="59c3e81d-8f8c-46f7-acfd-fef1fb9220f5" providerId="ADAL" clId="{8FE931CD-66B5-451C-8AB8-845E6E99FCD8}" dt="2024-05-06T15:41:18.941" v="150" actId="1035"/>
          <ac:grpSpMkLst>
            <pc:docMk/>
            <pc:sldMk cId="4066212355" sldId="2147375221"/>
            <ac:grpSpMk id="2" creationId="{54A02E98-9336-4D28-8216-7008090FB100}"/>
          </ac:grpSpMkLst>
        </pc:grpChg>
        <pc:grpChg chg="del">
          <ac:chgData name="Michael Bauer" userId="59c3e81d-8f8c-46f7-acfd-fef1fb9220f5" providerId="ADAL" clId="{8FE931CD-66B5-451C-8AB8-845E6E99FCD8}" dt="2024-05-06T15:39:09.253" v="116" actId="478"/>
          <ac:grpSpMkLst>
            <pc:docMk/>
            <pc:sldMk cId="4066212355" sldId="2147375221"/>
            <ac:grpSpMk id="18" creationId="{E1291F54-E41C-4FF9-A176-86686F371840}"/>
          </ac:grpSpMkLst>
        </pc:grpChg>
      </pc:sldChg>
      <pc:sldChg chg="addSp delSp modSp mod modNotesTx">
        <pc:chgData name="Michael Bauer" userId="59c3e81d-8f8c-46f7-acfd-fef1fb9220f5" providerId="ADAL" clId="{8FE931CD-66B5-451C-8AB8-845E6E99FCD8}" dt="2024-05-08T15:14:48.344" v="1974" actId="20577"/>
        <pc:sldMkLst>
          <pc:docMk/>
          <pc:sldMk cId="191556977" sldId="2147375222"/>
        </pc:sldMkLst>
        <pc:spChg chg="add del mod replST">
          <ac:chgData name="Michael Bauer" userId="59c3e81d-8f8c-46f7-acfd-fef1fb9220f5" providerId="ADAL" clId="{8FE931CD-66B5-451C-8AB8-845E6E99FCD8}" dt="2024-05-06T15:44:08.379" v="175" actId="478"/>
          <ac:spMkLst>
            <pc:docMk/>
            <pc:sldMk cId="191556977" sldId="2147375222"/>
            <ac:spMk id="2" creationId="{A52F6591-C861-805F-9B9F-DF1ED672F166}"/>
          </ac:spMkLst>
        </pc:spChg>
        <pc:spChg chg="mod">
          <ac:chgData name="Michael Bauer" userId="59c3e81d-8f8c-46f7-acfd-fef1fb9220f5" providerId="ADAL" clId="{8FE931CD-66B5-451C-8AB8-845E6E99FCD8}" dt="2024-05-08T09:11:21.631" v="1105" actId="20577"/>
          <ac:spMkLst>
            <pc:docMk/>
            <pc:sldMk cId="191556977" sldId="2147375222"/>
            <ac:spMk id="4" creationId="{E2C5F19D-5D23-4DD7-BFB4-BCEC39A8E07F}"/>
          </ac:spMkLst>
        </pc:spChg>
        <pc:spChg chg="add mod replST">
          <ac:chgData name="Michael Bauer" userId="59c3e81d-8f8c-46f7-acfd-fef1fb9220f5" providerId="ADAL" clId="{8FE931CD-66B5-451C-8AB8-845E6E99FCD8}" dt="2024-05-06T15:46:34.379" v="258" actId="20577"/>
          <ac:spMkLst>
            <pc:docMk/>
            <pc:sldMk cId="191556977" sldId="2147375222"/>
            <ac:spMk id="6" creationId="{EC5C4C6D-7B5D-D53C-DC14-2F81AEAAECAB}"/>
          </ac:spMkLst>
        </pc:spChg>
        <pc:spChg chg="add mod replST">
          <ac:chgData name="Michael Bauer" userId="59c3e81d-8f8c-46f7-acfd-fef1fb9220f5" providerId="ADAL" clId="{8FE931CD-66B5-451C-8AB8-845E6E99FCD8}" dt="2024-05-06T15:46:18.141" v="255" actId="1036"/>
          <ac:spMkLst>
            <pc:docMk/>
            <pc:sldMk cId="191556977" sldId="2147375222"/>
            <ac:spMk id="7" creationId="{FAE143BC-3E53-A56E-42A1-F49A7E196A92}"/>
          </ac:spMkLst>
        </pc:spChg>
        <pc:spChg chg="add del mod replST">
          <ac:chgData name="Michael Bauer" userId="59c3e81d-8f8c-46f7-acfd-fef1fb9220f5" providerId="ADAL" clId="{8FE931CD-66B5-451C-8AB8-845E6E99FCD8}" dt="2024-05-06T15:44:08.379" v="175" actId="478"/>
          <ac:spMkLst>
            <pc:docMk/>
            <pc:sldMk cId="191556977" sldId="2147375222"/>
            <ac:spMk id="8" creationId="{9645E7C6-60C3-5BE1-FA2C-EFCDE8B2093F}"/>
          </ac:spMkLst>
        </pc:spChg>
        <pc:spChg chg="add del mod replST">
          <ac:chgData name="Michael Bauer" userId="59c3e81d-8f8c-46f7-acfd-fef1fb9220f5" providerId="ADAL" clId="{8FE931CD-66B5-451C-8AB8-845E6E99FCD8}" dt="2024-05-06T15:44:08.379" v="175" actId="478"/>
          <ac:spMkLst>
            <pc:docMk/>
            <pc:sldMk cId="191556977" sldId="2147375222"/>
            <ac:spMk id="9" creationId="{103CFB50-0882-C78F-2E92-509DB4818D4F}"/>
          </ac:spMkLst>
        </pc:spChg>
        <pc:spChg chg="add mod replST">
          <ac:chgData name="Michael Bauer" userId="59c3e81d-8f8c-46f7-acfd-fef1fb9220f5" providerId="ADAL" clId="{8FE931CD-66B5-451C-8AB8-845E6E99FCD8}" dt="2024-05-06T15:46:49.990" v="259" actId="1076"/>
          <ac:spMkLst>
            <pc:docMk/>
            <pc:sldMk cId="191556977" sldId="2147375222"/>
            <ac:spMk id="10" creationId="{B5718CF9-E587-9470-CE0D-6B2B7A0B68B0}"/>
          </ac:spMkLst>
        </pc:spChg>
        <pc:spChg chg="mod replST delST">
          <ac:chgData name="Michael Bauer" userId="59c3e81d-8f8c-46f7-acfd-fef1fb9220f5" providerId="ADAL" clId="{8FE931CD-66B5-451C-8AB8-845E6E99FCD8}" dt="2024-05-06T15:46:18.141" v="255" actId="1036"/>
          <ac:spMkLst>
            <pc:docMk/>
            <pc:sldMk cId="191556977" sldId="2147375222"/>
            <ac:spMk id="13" creationId="{3E44039E-0E01-43B2-8F8E-52E63947CCDC}"/>
          </ac:spMkLst>
        </pc:spChg>
        <pc:spChg chg="del replST delST">
          <ac:chgData name="Michael Bauer" userId="59c3e81d-8f8c-46f7-acfd-fef1fb9220f5" providerId="ADAL" clId="{8FE931CD-66B5-451C-8AB8-845E6E99FCD8}" dt="2024-05-06T15:28:34.932" v="86" actId="478"/>
          <ac:spMkLst>
            <pc:docMk/>
            <pc:sldMk cId="191556977" sldId="2147375222"/>
            <ac:spMk id="15" creationId="{6C7EDBF3-7DF5-4078-ADFC-1C3A0E913787}"/>
          </ac:spMkLst>
        </pc:spChg>
        <pc:spChg chg="del">
          <ac:chgData name="Michael Bauer" userId="59c3e81d-8f8c-46f7-acfd-fef1fb9220f5" providerId="ADAL" clId="{8FE931CD-66B5-451C-8AB8-845E6E99FCD8}" dt="2024-05-06T15:11:17.640" v="49" actId="478"/>
          <ac:spMkLst>
            <pc:docMk/>
            <pc:sldMk cId="191556977" sldId="2147375222"/>
            <ac:spMk id="19" creationId="{DF96568A-064F-4263-B422-9273B44BDA45}"/>
          </ac:spMkLst>
        </pc:spChg>
        <pc:spChg chg="mod">
          <ac:chgData name="Michael Bauer" userId="59c3e81d-8f8c-46f7-acfd-fef1fb9220f5" providerId="ADAL" clId="{8FE931CD-66B5-451C-8AB8-845E6E99FCD8}" dt="2024-05-06T15:44:15.320" v="176"/>
          <ac:spMkLst>
            <pc:docMk/>
            <pc:sldMk cId="191556977" sldId="2147375222"/>
            <ac:spMk id="20" creationId="{54EEC2ED-62E6-3911-3CD4-7D68A8E3F925}"/>
          </ac:spMkLst>
        </pc:spChg>
        <pc:spChg chg="del">
          <ac:chgData name="Michael Bauer" userId="59c3e81d-8f8c-46f7-acfd-fef1fb9220f5" providerId="ADAL" clId="{8FE931CD-66B5-451C-8AB8-845E6E99FCD8}" dt="2024-05-06T15:29:55.482" v="95" actId="478"/>
          <ac:spMkLst>
            <pc:docMk/>
            <pc:sldMk cId="191556977" sldId="2147375222"/>
            <ac:spMk id="21" creationId="{2CBDF097-A725-44C6-9B8C-89B50E60D5B8}"/>
          </ac:spMkLst>
        </pc:spChg>
        <pc:spChg chg="mod">
          <ac:chgData name="Michael Bauer" userId="59c3e81d-8f8c-46f7-acfd-fef1fb9220f5" providerId="ADAL" clId="{8FE931CD-66B5-451C-8AB8-845E6E99FCD8}" dt="2024-05-06T15:44:15.320" v="176"/>
          <ac:spMkLst>
            <pc:docMk/>
            <pc:sldMk cId="191556977" sldId="2147375222"/>
            <ac:spMk id="22" creationId="{478831BA-7D21-60F3-742A-1AE168C2804A}"/>
          </ac:spMkLst>
        </pc:spChg>
        <pc:spChg chg="mod">
          <ac:chgData name="Michael Bauer" userId="59c3e81d-8f8c-46f7-acfd-fef1fb9220f5" providerId="ADAL" clId="{8FE931CD-66B5-451C-8AB8-845E6E99FCD8}" dt="2024-05-06T15:45:22.310" v="223" actId="14100"/>
          <ac:spMkLst>
            <pc:docMk/>
            <pc:sldMk cId="191556977" sldId="2147375222"/>
            <ac:spMk id="23" creationId="{452CA8CF-CFF9-0267-0E42-BC242BC2FF8C}"/>
          </ac:spMkLst>
        </pc:spChg>
        <pc:spChg chg="mod">
          <ac:chgData name="Michael Bauer" userId="59c3e81d-8f8c-46f7-acfd-fef1fb9220f5" providerId="ADAL" clId="{8FE931CD-66B5-451C-8AB8-845E6E99FCD8}" dt="2024-05-06T15:44:15.320" v="176"/>
          <ac:spMkLst>
            <pc:docMk/>
            <pc:sldMk cId="191556977" sldId="2147375222"/>
            <ac:spMk id="25" creationId="{78B84CD8-B3EA-5086-10C0-5A23F96F279A}"/>
          </ac:spMkLst>
        </pc:spChg>
        <pc:spChg chg="mod">
          <ac:chgData name="Michael Bauer" userId="59c3e81d-8f8c-46f7-acfd-fef1fb9220f5" providerId="ADAL" clId="{8FE931CD-66B5-451C-8AB8-845E6E99FCD8}" dt="2024-05-06T15:44:15.320" v="176"/>
          <ac:spMkLst>
            <pc:docMk/>
            <pc:sldMk cId="191556977" sldId="2147375222"/>
            <ac:spMk id="30" creationId="{545A7066-D2CD-EC34-5294-B834D5582820}"/>
          </ac:spMkLst>
        </pc:spChg>
        <pc:spChg chg="mod">
          <ac:chgData name="Michael Bauer" userId="59c3e81d-8f8c-46f7-acfd-fef1fb9220f5" providerId="ADAL" clId="{8FE931CD-66B5-451C-8AB8-845E6E99FCD8}" dt="2024-05-06T15:44:15.320" v="176"/>
          <ac:spMkLst>
            <pc:docMk/>
            <pc:sldMk cId="191556977" sldId="2147375222"/>
            <ac:spMk id="31" creationId="{4C4EE219-75D6-00ED-1002-C25949021ED2}"/>
          </ac:spMkLst>
        </pc:spChg>
        <pc:spChg chg="mod">
          <ac:chgData name="Michael Bauer" userId="59c3e81d-8f8c-46f7-acfd-fef1fb9220f5" providerId="ADAL" clId="{8FE931CD-66B5-451C-8AB8-845E6E99FCD8}" dt="2024-05-06T15:33:27.364" v="109" actId="20577"/>
          <ac:spMkLst>
            <pc:docMk/>
            <pc:sldMk cId="191556977" sldId="2147375222"/>
            <ac:spMk id="32" creationId="{EC59BF30-F868-4B48-B3E6-998118330E8F}"/>
          </ac:spMkLst>
        </pc:spChg>
        <pc:spChg chg="mod">
          <ac:chgData name="Michael Bauer" userId="59c3e81d-8f8c-46f7-acfd-fef1fb9220f5" providerId="ADAL" clId="{8FE931CD-66B5-451C-8AB8-845E6E99FCD8}" dt="2024-05-06T15:44:15.320" v="176"/>
          <ac:spMkLst>
            <pc:docMk/>
            <pc:sldMk cId="191556977" sldId="2147375222"/>
            <ac:spMk id="34" creationId="{71A5C0C7-98CE-D981-A9A3-073A4D535334}"/>
          </ac:spMkLst>
        </pc:spChg>
        <pc:spChg chg="mod">
          <ac:chgData name="Michael Bauer" userId="59c3e81d-8f8c-46f7-acfd-fef1fb9220f5" providerId="ADAL" clId="{8FE931CD-66B5-451C-8AB8-845E6E99FCD8}" dt="2024-05-06T15:44:15.320" v="176"/>
          <ac:spMkLst>
            <pc:docMk/>
            <pc:sldMk cId="191556977" sldId="2147375222"/>
            <ac:spMk id="35" creationId="{C7E36762-2DC4-0057-A199-195E61D8D5BC}"/>
          </ac:spMkLst>
        </pc:spChg>
        <pc:spChg chg="mod">
          <ac:chgData name="Michael Bauer" userId="59c3e81d-8f8c-46f7-acfd-fef1fb9220f5" providerId="ADAL" clId="{8FE931CD-66B5-451C-8AB8-845E6E99FCD8}" dt="2024-05-06T15:44:15.320" v="176"/>
          <ac:spMkLst>
            <pc:docMk/>
            <pc:sldMk cId="191556977" sldId="2147375222"/>
            <ac:spMk id="37" creationId="{388B280C-BE12-B41D-55A8-486EE52A0345}"/>
          </ac:spMkLst>
        </pc:spChg>
        <pc:spChg chg="mod">
          <ac:chgData name="Michael Bauer" userId="59c3e81d-8f8c-46f7-acfd-fef1fb9220f5" providerId="ADAL" clId="{8FE931CD-66B5-451C-8AB8-845E6E99FCD8}" dt="2024-05-06T15:44:15.320" v="176"/>
          <ac:spMkLst>
            <pc:docMk/>
            <pc:sldMk cId="191556977" sldId="2147375222"/>
            <ac:spMk id="38" creationId="{3750BDB6-A2CD-AC7A-ED1B-5EC438A999A6}"/>
          </ac:spMkLst>
        </pc:spChg>
        <pc:spChg chg="mod">
          <ac:chgData name="Michael Bauer" userId="59c3e81d-8f8c-46f7-acfd-fef1fb9220f5" providerId="ADAL" clId="{8FE931CD-66B5-451C-8AB8-845E6E99FCD8}" dt="2024-05-06T15:44:15.320" v="176"/>
          <ac:spMkLst>
            <pc:docMk/>
            <pc:sldMk cId="191556977" sldId="2147375222"/>
            <ac:spMk id="40" creationId="{23DD17D8-2021-C7BE-B35A-11D8C469D4DB}"/>
          </ac:spMkLst>
        </pc:spChg>
        <pc:spChg chg="mod">
          <ac:chgData name="Michael Bauer" userId="59c3e81d-8f8c-46f7-acfd-fef1fb9220f5" providerId="ADAL" clId="{8FE931CD-66B5-451C-8AB8-845E6E99FCD8}" dt="2024-05-06T15:44:15.320" v="176"/>
          <ac:spMkLst>
            <pc:docMk/>
            <pc:sldMk cId="191556977" sldId="2147375222"/>
            <ac:spMk id="41" creationId="{6638CE39-8F8D-32E5-7A83-269ADA11BC0F}"/>
          </ac:spMkLst>
        </pc:spChg>
        <pc:spChg chg="mod">
          <ac:chgData name="Michael Bauer" userId="59c3e81d-8f8c-46f7-acfd-fef1fb9220f5" providerId="ADAL" clId="{8FE931CD-66B5-451C-8AB8-845E6E99FCD8}" dt="2024-05-06T15:44:15.320" v="176"/>
          <ac:spMkLst>
            <pc:docMk/>
            <pc:sldMk cId="191556977" sldId="2147375222"/>
            <ac:spMk id="43" creationId="{E5CCE9BB-5A49-C941-F07E-58E3DF2581CF}"/>
          </ac:spMkLst>
        </pc:spChg>
        <pc:spChg chg="mod">
          <ac:chgData name="Michael Bauer" userId="59c3e81d-8f8c-46f7-acfd-fef1fb9220f5" providerId="ADAL" clId="{8FE931CD-66B5-451C-8AB8-845E6E99FCD8}" dt="2024-05-06T15:44:15.320" v="176"/>
          <ac:spMkLst>
            <pc:docMk/>
            <pc:sldMk cId="191556977" sldId="2147375222"/>
            <ac:spMk id="44" creationId="{AB486157-2DD3-55F2-E6F6-B65D6538548E}"/>
          </ac:spMkLst>
        </pc:spChg>
        <pc:spChg chg="mod">
          <ac:chgData name="Michael Bauer" userId="59c3e81d-8f8c-46f7-acfd-fef1fb9220f5" providerId="ADAL" clId="{8FE931CD-66B5-451C-8AB8-845E6E99FCD8}" dt="2024-05-06T15:44:15.320" v="176"/>
          <ac:spMkLst>
            <pc:docMk/>
            <pc:sldMk cId="191556977" sldId="2147375222"/>
            <ac:spMk id="46" creationId="{44C19C83-75FD-EE41-7307-AC6C24F9C965}"/>
          </ac:spMkLst>
        </pc:spChg>
        <pc:spChg chg="mod">
          <ac:chgData name="Michael Bauer" userId="59c3e81d-8f8c-46f7-acfd-fef1fb9220f5" providerId="ADAL" clId="{8FE931CD-66B5-451C-8AB8-845E6E99FCD8}" dt="2024-05-06T15:44:15.320" v="176"/>
          <ac:spMkLst>
            <pc:docMk/>
            <pc:sldMk cId="191556977" sldId="2147375222"/>
            <ac:spMk id="47" creationId="{19A6DCAE-E2DF-74FD-D933-065E1463DDED}"/>
          </ac:spMkLst>
        </pc:spChg>
        <pc:spChg chg="mod">
          <ac:chgData name="Michael Bauer" userId="59c3e81d-8f8c-46f7-acfd-fef1fb9220f5" providerId="ADAL" clId="{8FE931CD-66B5-451C-8AB8-845E6E99FCD8}" dt="2024-05-06T15:44:15.320" v="176"/>
          <ac:spMkLst>
            <pc:docMk/>
            <pc:sldMk cId="191556977" sldId="2147375222"/>
            <ac:spMk id="49" creationId="{8916884B-4C71-B6A4-B233-4900B0F6D954}"/>
          </ac:spMkLst>
        </pc:spChg>
        <pc:spChg chg="mod">
          <ac:chgData name="Michael Bauer" userId="59c3e81d-8f8c-46f7-acfd-fef1fb9220f5" providerId="ADAL" clId="{8FE931CD-66B5-451C-8AB8-845E6E99FCD8}" dt="2024-05-06T15:44:15.320" v="176"/>
          <ac:spMkLst>
            <pc:docMk/>
            <pc:sldMk cId="191556977" sldId="2147375222"/>
            <ac:spMk id="50" creationId="{3E2E85F3-AEB6-A9CE-D0D5-6CCC640F4395}"/>
          </ac:spMkLst>
        </pc:spChg>
        <pc:spChg chg="mod">
          <ac:chgData name="Michael Bauer" userId="59c3e81d-8f8c-46f7-acfd-fef1fb9220f5" providerId="ADAL" clId="{8FE931CD-66B5-451C-8AB8-845E6E99FCD8}" dt="2024-05-06T15:44:15.320" v="176"/>
          <ac:spMkLst>
            <pc:docMk/>
            <pc:sldMk cId="191556977" sldId="2147375222"/>
            <ac:spMk id="52" creationId="{66EB09E3-09A2-9A56-862C-DE0346B1656A}"/>
          </ac:spMkLst>
        </pc:spChg>
        <pc:spChg chg="mod">
          <ac:chgData name="Michael Bauer" userId="59c3e81d-8f8c-46f7-acfd-fef1fb9220f5" providerId="ADAL" clId="{8FE931CD-66B5-451C-8AB8-845E6E99FCD8}" dt="2024-05-06T15:44:15.320" v="176"/>
          <ac:spMkLst>
            <pc:docMk/>
            <pc:sldMk cId="191556977" sldId="2147375222"/>
            <ac:spMk id="53" creationId="{6A59AA3C-E147-5F32-EDBD-215A88084284}"/>
          </ac:spMkLst>
        </pc:spChg>
        <pc:spChg chg="mod">
          <ac:chgData name="Michael Bauer" userId="59c3e81d-8f8c-46f7-acfd-fef1fb9220f5" providerId="ADAL" clId="{8FE931CD-66B5-451C-8AB8-845E6E99FCD8}" dt="2024-05-06T15:44:15.320" v="176"/>
          <ac:spMkLst>
            <pc:docMk/>
            <pc:sldMk cId="191556977" sldId="2147375222"/>
            <ac:spMk id="55" creationId="{704B9EB4-2EF4-758C-DBA3-AF4EE71A5539}"/>
          </ac:spMkLst>
        </pc:spChg>
        <pc:spChg chg="mod">
          <ac:chgData name="Michael Bauer" userId="59c3e81d-8f8c-46f7-acfd-fef1fb9220f5" providerId="ADAL" clId="{8FE931CD-66B5-451C-8AB8-845E6E99FCD8}" dt="2024-05-06T15:44:15.320" v="176"/>
          <ac:spMkLst>
            <pc:docMk/>
            <pc:sldMk cId="191556977" sldId="2147375222"/>
            <ac:spMk id="56" creationId="{4104632E-DA7E-CE98-008B-B380714DCCF6}"/>
          </ac:spMkLst>
        </pc:spChg>
        <pc:spChg chg="mod">
          <ac:chgData name="Michael Bauer" userId="59c3e81d-8f8c-46f7-acfd-fef1fb9220f5" providerId="ADAL" clId="{8FE931CD-66B5-451C-8AB8-845E6E99FCD8}" dt="2024-05-06T15:44:15.320" v="176"/>
          <ac:spMkLst>
            <pc:docMk/>
            <pc:sldMk cId="191556977" sldId="2147375222"/>
            <ac:spMk id="58" creationId="{2A3069F5-E4B6-D5AF-06AC-40A6C8B73136}"/>
          </ac:spMkLst>
        </pc:spChg>
        <pc:spChg chg="mod">
          <ac:chgData name="Michael Bauer" userId="59c3e81d-8f8c-46f7-acfd-fef1fb9220f5" providerId="ADAL" clId="{8FE931CD-66B5-451C-8AB8-845E6E99FCD8}" dt="2024-05-06T15:44:15.320" v="176"/>
          <ac:spMkLst>
            <pc:docMk/>
            <pc:sldMk cId="191556977" sldId="2147375222"/>
            <ac:spMk id="59" creationId="{96008EC6-4F96-27E1-FC8E-B150E468A71B}"/>
          </ac:spMkLst>
        </pc:spChg>
        <pc:spChg chg="mod">
          <ac:chgData name="Michael Bauer" userId="59c3e81d-8f8c-46f7-acfd-fef1fb9220f5" providerId="ADAL" clId="{8FE931CD-66B5-451C-8AB8-845E6E99FCD8}" dt="2024-05-06T15:44:15.320" v="176"/>
          <ac:spMkLst>
            <pc:docMk/>
            <pc:sldMk cId="191556977" sldId="2147375222"/>
            <ac:spMk id="61" creationId="{C40A4505-21DD-9731-3A8E-501F0E2C4F6F}"/>
          </ac:spMkLst>
        </pc:spChg>
        <pc:spChg chg="mod">
          <ac:chgData name="Michael Bauer" userId="59c3e81d-8f8c-46f7-acfd-fef1fb9220f5" providerId="ADAL" clId="{8FE931CD-66B5-451C-8AB8-845E6E99FCD8}" dt="2024-05-06T15:44:15.320" v="176"/>
          <ac:spMkLst>
            <pc:docMk/>
            <pc:sldMk cId="191556977" sldId="2147375222"/>
            <ac:spMk id="62" creationId="{647109A5-8983-180F-5FBF-BCDCE96AF0BE}"/>
          </ac:spMkLst>
        </pc:spChg>
        <pc:spChg chg="mod">
          <ac:chgData name="Michael Bauer" userId="59c3e81d-8f8c-46f7-acfd-fef1fb9220f5" providerId="ADAL" clId="{8FE931CD-66B5-451C-8AB8-845E6E99FCD8}" dt="2024-05-06T15:44:15.320" v="176"/>
          <ac:spMkLst>
            <pc:docMk/>
            <pc:sldMk cId="191556977" sldId="2147375222"/>
            <ac:spMk id="64" creationId="{37AB53B8-23BE-0D5F-A7BD-995850396A2A}"/>
          </ac:spMkLst>
        </pc:spChg>
        <pc:spChg chg="mod">
          <ac:chgData name="Michael Bauer" userId="59c3e81d-8f8c-46f7-acfd-fef1fb9220f5" providerId="ADAL" clId="{8FE931CD-66B5-451C-8AB8-845E6E99FCD8}" dt="2024-05-06T15:44:15.320" v="176"/>
          <ac:spMkLst>
            <pc:docMk/>
            <pc:sldMk cId="191556977" sldId="2147375222"/>
            <ac:spMk id="65" creationId="{44CA4830-4ACB-6627-CF32-C8459FA88EF2}"/>
          </ac:spMkLst>
        </pc:spChg>
        <pc:spChg chg="mod">
          <ac:chgData name="Michael Bauer" userId="59c3e81d-8f8c-46f7-acfd-fef1fb9220f5" providerId="ADAL" clId="{8FE931CD-66B5-451C-8AB8-845E6E99FCD8}" dt="2024-05-06T15:44:15.320" v="176"/>
          <ac:spMkLst>
            <pc:docMk/>
            <pc:sldMk cId="191556977" sldId="2147375222"/>
            <ac:spMk id="67" creationId="{3670E3E3-9CF7-0F9F-36FD-642D82F62308}"/>
          </ac:spMkLst>
        </pc:spChg>
        <pc:spChg chg="mod">
          <ac:chgData name="Michael Bauer" userId="59c3e81d-8f8c-46f7-acfd-fef1fb9220f5" providerId="ADAL" clId="{8FE931CD-66B5-451C-8AB8-845E6E99FCD8}" dt="2024-05-06T15:44:15.320" v="176"/>
          <ac:spMkLst>
            <pc:docMk/>
            <pc:sldMk cId="191556977" sldId="2147375222"/>
            <ac:spMk id="68" creationId="{CC55486D-CA90-F7AC-3BA0-743233527F5B}"/>
          </ac:spMkLst>
        </pc:spChg>
        <pc:spChg chg="mod">
          <ac:chgData name="Michael Bauer" userId="59c3e81d-8f8c-46f7-acfd-fef1fb9220f5" providerId="ADAL" clId="{8FE931CD-66B5-451C-8AB8-845E6E99FCD8}" dt="2024-05-06T15:44:15.320" v="176"/>
          <ac:spMkLst>
            <pc:docMk/>
            <pc:sldMk cId="191556977" sldId="2147375222"/>
            <ac:spMk id="70" creationId="{49D3FA58-7825-5C2B-E80E-B5A0DDA32577}"/>
          </ac:spMkLst>
        </pc:spChg>
        <pc:spChg chg="mod">
          <ac:chgData name="Michael Bauer" userId="59c3e81d-8f8c-46f7-acfd-fef1fb9220f5" providerId="ADAL" clId="{8FE931CD-66B5-451C-8AB8-845E6E99FCD8}" dt="2024-05-06T15:44:15.320" v="176"/>
          <ac:spMkLst>
            <pc:docMk/>
            <pc:sldMk cId="191556977" sldId="2147375222"/>
            <ac:spMk id="71" creationId="{B80D1DD0-BE73-6245-C2D6-53A193481EBC}"/>
          </ac:spMkLst>
        </pc:spChg>
        <pc:spChg chg="mod">
          <ac:chgData name="Michael Bauer" userId="59c3e81d-8f8c-46f7-acfd-fef1fb9220f5" providerId="ADAL" clId="{8FE931CD-66B5-451C-8AB8-845E6E99FCD8}" dt="2024-05-06T15:44:15.320" v="176"/>
          <ac:spMkLst>
            <pc:docMk/>
            <pc:sldMk cId="191556977" sldId="2147375222"/>
            <ac:spMk id="73" creationId="{BFBBB20F-C5E4-35AD-29E4-2C4575265342}"/>
          </ac:spMkLst>
        </pc:spChg>
        <pc:spChg chg="mod">
          <ac:chgData name="Michael Bauer" userId="59c3e81d-8f8c-46f7-acfd-fef1fb9220f5" providerId="ADAL" clId="{8FE931CD-66B5-451C-8AB8-845E6E99FCD8}" dt="2024-05-06T15:44:15.320" v="176"/>
          <ac:spMkLst>
            <pc:docMk/>
            <pc:sldMk cId="191556977" sldId="2147375222"/>
            <ac:spMk id="74" creationId="{4B3C2F05-CF45-B6D8-090D-3DE88337DE47}"/>
          </ac:spMkLst>
        </pc:spChg>
        <pc:spChg chg="mod">
          <ac:chgData name="Michael Bauer" userId="59c3e81d-8f8c-46f7-acfd-fef1fb9220f5" providerId="ADAL" clId="{8FE931CD-66B5-451C-8AB8-845E6E99FCD8}" dt="2024-05-06T15:44:15.320" v="176"/>
          <ac:spMkLst>
            <pc:docMk/>
            <pc:sldMk cId="191556977" sldId="2147375222"/>
            <ac:spMk id="76" creationId="{5485841D-3D76-D95B-953E-8BC68BB1B97C}"/>
          </ac:spMkLst>
        </pc:spChg>
        <pc:spChg chg="mod">
          <ac:chgData name="Michael Bauer" userId="59c3e81d-8f8c-46f7-acfd-fef1fb9220f5" providerId="ADAL" clId="{8FE931CD-66B5-451C-8AB8-845E6E99FCD8}" dt="2024-05-06T15:44:15.320" v="176"/>
          <ac:spMkLst>
            <pc:docMk/>
            <pc:sldMk cId="191556977" sldId="2147375222"/>
            <ac:spMk id="77" creationId="{88AC7C6C-7744-BD0C-97C6-0FEDBF242DFE}"/>
          </ac:spMkLst>
        </pc:spChg>
        <pc:spChg chg="mod">
          <ac:chgData name="Michael Bauer" userId="59c3e81d-8f8c-46f7-acfd-fef1fb9220f5" providerId="ADAL" clId="{8FE931CD-66B5-451C-8AB8-845E6E99FCD8}" dt="2024-05-06T15:44:15.320" v="176"/>
          <ac:spMkLst>
            <pc:docMk/>
            <pc:sldMk cId="191556977" sldId="2147375222"/>
            <ac:spMk id="79" creationId="{BFA082D3-960C-AE6D-FF13-5D504BED7F55}"/>
          </ac:spMkLst>
        </pc:spChg>
        <pc:spChg chg="mod">
          <ac:chgData name="Michael Bauer" userId="59c3e81d-8f8c-46f7-acfd-fef1fb9220f5" providerId="ADAL" clId="{8FE931CD-66B5-451C-8AB8-845E6E99FCD8}" dt="2024-05-06T15:44:15.320" v="176"/>
          <ac:spMkLst>
            <pc:docMk/>
            <pc:sldMk cId="191556977" sldId="2147375222"/>
            <ac:spMk id="80" creationId="{76E15C33-7B03-F3AB-E304-A0C74AD438AC}"/>
          </ac:spMkLst>
        </pc:spChg>
        <pc:spChg chg="mod">
          <ac:chgData name="Michael Bauer" userId="59c3e81d-8f8c-46f7-acfd-fef1fb9220f5" providerId="ADAL" clId="{8FE931CD-66B5-451C-8AB8-845E6E99FCD8}" dt="2024-05-06T15:44:15.320" v="176"/>
          <ac:spMkLst>
            <pc:docMk/>
            <pc:sldMk cId="191556977" sldId="2147375222"/>
            <ac:spMk id="82" creationId="{41DB4691-EE20-5FF8-5226-D6589511E346}"/>
          </ac:spMkLst>
        </pc:spChg>
        <pc:spChg chg="mod">
          <ac:chgData name="Michael Bauer" userId="59c3e81d-8f8c-46f7-acfd-fef1fb9220f5" providerId="ADAL" clId="{8FE931CD-66B5-451C-8AB8-845E6E99FCD8}" dt="2024-05-06T15:44:15.320" v="176"/>
          <ac:spMkLst>
            <pc:docMk/>
            <pc:sldMk cId="191556977" sldId="2147375222"/>
            <ac:spMk id="83" creationId="{1E0B3E81-E6F0-4FBB-4EA4-62E7A0289BE2}"/>
          </ac:spMkLst>
        </pc:spChg>
        <pc:spChg chg="mod">
          <ac:chgData name="Michael Bauer" userId="59c3e81d-8f8c-46f7-acfd-fef1fb9220f5" providerId="ADAL" clId="{8FE931CD-66B5-451C-8AB8-845E6E99FCD8}" dt="2024-05-06T15:44:15.320" v="176"/>
          <ac:spMkLst>
            <pc:docMk/>
            <pc:sldMk cId="191556977" sldId="2147375222"/>
            <ac:spMk id="85" creationId="{04D9519A-1174-59A1-6C0F-1E4C49ECFCE5}"/>
          </ac:spMkLst>
        </pc:spChg>
        <pc:spChg chg="mod">
          <ac:chgData name="Michael Bauer" userId="59c3e81d-8f8c-46f7-acfd-fef1fb9220f5" providerId="ADAL" clId="{8FE931CD-66B5-451C-8AB8-845E6E99FCD8}" dt="2024-05-06T15:44:15.320" v="176"/>
          <ac:spMkLst>
            <pc:docMk/>
            <pc:sldMk cId="191556977" sldId="2147375222"/>
            <ac:spMk id="86" creationId="{266A56D1-DB34-7575-C213-1E369F357A98}"/>
          </ac:spMkLst>
        </pc:spChg>
        <pc:spChg chg="mod">
          <ac:chgData name="Michael Bauer" userId="59c3e81d-8f8c-46f7-acfd-fef1fb9220f5" providerId="ADAL" clId="{8FE931CD-66B5-451C-8AB8-845E6E99FCD8}" dt="2024-05-06T15:44:15.320" v="176"/>
          <ac:spMkLst>
            <pc:docMk/>
            <pc:sldMk cId="191556977" sldId="2147375222"/>
            <ac:spMk id="88" creationId="{3A2F7E95-AEEF-61DB-68E1-8F71A93C42D7}"/>
          </ac:spMkLst>
        </pc:spChg>
        <pc:spChg chg="mod">
          <ac:chgData name="Michael Bauer" userId="59c3e81d-8f8c-46f7-acfd-fef1fb9220f5" providerId="ADAL" clId="{8FE931CD-66B5-451C-8AB8-845E6E99FCD8}" dt="2024-05-06T15:44:15.320" v="176"/>
          <ac:spMkLst>
            <pc:docMk/>
            <pc:sldMk cId="191556977" sldId="2147375222"/>
            <ac:spMk id="89" creationId="{574DD442-0879-DA05-97CD-4ECA5F67AA22}"/>
          </ac:spMkLst>
        </pc:spChg>
        <pc:spChg chg="mod">
          <ac:chgData name="Michael Bauer" userId="59c3e81d-8f8c-46f7-acfd-fef1fb9220f5" providerId="ADAL" clId="{8FE931CD-66B5-451C-8AB8-845E6E99FCD8}" dt="2024-05-06T15:44:15.320" v="176"/>
          <ac:spMkLst>
            <pc:docMk/>
            <pc:sldMk cId="191556977" sldId="2147375222"/>
            <ac:spMk id="90" creationId="{DB316265-9265-DCAC-F002-66434FC047E9}"/>
          </ac:spMkLst>
        </pc:spChg>
        <pc:spChg chg="mod">
          <ac:chgData name="Michael Bauer" userId="59c3e81d-8f8c-46f7-acfd-fef1fb9220f5" providerId="ADAL" clId="{8FE931CD-66B5-451C-8AB8-845E6E99FCD8}" dt="2024-05-06T15:44:15.320" v="176"/>
          <ac:spMkLst>
            <pc:docMk/>
            <pc:sldMk cId="191556977" sldId="2147375222"/>
            <ac:spMk id="91" creationId="{4042962D-9E8D-12C8-8A7B-983AD1A17F0A}"/>
          </ac:spMkLst>
        </pc:spChg>
        <pc:spChg chg="mod">
          <ac:chgData name="Michael Bauer" userId="59c3e81d-8f8c-46f7-acfd-fef1fb9220f5" providerId="ADAL" clId="{8FE931CD-66B5-451C-8AB8-845E6E99FCD8}" dt="2024-05-06T15:44:15.320" v="176"/>
          <ac:spMkLst>
            <pc:docMk/>
            <pc:sldMk cId="191556977" sldId="2147375222"/>
            <ac:spMk id="92" creationId="{04F69137-B8C2-F7EE-690A-A0CE2E9C94E2}"/>
          </ac:spMkLst>
        </pc:spChg>
        <pc:spChg chg="mod">
          <ac:chgData name="Michael Bauer" userId="59c3e81d-8f8c-46f7-acfd-fef1fb9220f5" providerId="ADAL" clId="{8FE931CD-66B5-451C-8AB8-845E6E99FCD8}" dt="2024-05-06T15:44:15.320" v="176"/>
          <ac:spMkLst>
            <pc:docMk/>
            <pc:sldMk cId="191556977" sldId="2147375222"/>
            <ac:spMk id="93" creationId="{CA04BC23-6A58-929A-818B-C932A1366B66}"/>
          </ac:spMkLst>
        </pc:spChg>
        <pc:spChg chg="mod">
          <ac:chgData name="Michael Bauer" userId="59c3e81d-8f8c-46f7-acfd-fef1fb9220f5" providerId="ADAL" clId="{8FE931CD-66B5-451C-8AB8-845E6E99FCD8}" dt="2024-05-06T15:44:15.320" v="176"/>
          <ac:spMkLst>
            <pc:docMk/>
            <pc:sldMk cId="191556977" sldId="2147375222"/>
            <ac:spMk id="94" creationId="{88739E31-8AC4-1867-56EF-6A365AC1AEB4}"/>
          </ac:spMkLst>
        </pc:spChg>
        <pc:spChg chg="mod">
          <ac:chgData name="Michael Bauer" userId="59c3e81d-8f8c-46f7-acfd-fef1fb9220f5" providerId="ADAL" clId="{8FE931CD-66B5-451C-8AB8-845E6E99FCD8}" dt="2024-05-06T15:44:15.320" v="176"/>
          <ac:spMkLst>
            <pc:docMk/>
            <pc:sldMk cId="191556977" sldId="2147375222"/>
            <ac:spMk id="95" creationId="{AF66573F-3EA5-C277-7C30-91E5113E834C}"/>
          </ac:spMkLst>
        </pc:spChg>
        <pc:spChg chg="mod">
          <ac:chgData name="Michael Bauer" userId="59c3e81d-8f8c-46f7-acfd-fef1fb9220f5" providerId="ADAL" clId="{8FE931CD-66B5-451C-8AB8-845E6E99FCD8}" dt="2024-05-06T15:44:15.320" v="176"/>
          <ac:spMkLst>
            <pc:docMk/>
            <pc:sldMk cId="191556977" sldId="2147375222"/>
            <ac:spMk id="96" creationId="{095A7ACD-B24D-BE1C-86BE-3F1618DDBE13}"/>
          </ac:spMkLst>
        </pc:spChg>
        <pc:spChg chg="mod">
          <ac:chgData name="Michael Bauer" userId="59c3e81d-8f8c-46f7-acfd-fef1fb9220f5" providerId="ADAL" clId="{8FE931CD-66B5-451C-8AB8-845E6E99FCD8}" dt="2024-05-06T15:44:15.320" v="176"/>
          <ac:spMkLst>
            <pc:docMk/>
            <pc:sldMk cId="191556977" sldId="2147375222"/>
            <ac:spMk id="97" creationId="{A1BD8103-44CA-D049-F375-2607E8B67BD3}"/>
          </ac:spMkLst>
        </pc:spChg>
        <pc:spChg chg="mod">
          <ac:chgData name="Michael Bauer" userId="59c3e81d-8f8c-46f7-acfd-fef1fb9220f5" providerId="ADAL" clId="{8FE931CD-66B5-451C-8AB8-845E6E99FCD8}" dt="2024-05-06T15:44:15.320" v="176"/>
          <ac:spMkLst>
            <pc:docMk/>
            <pc:sldMk cId="191556977" sldId="2147375222"/>
            <ac:spMk id="98" creationId="{78BF27C4-3763-08CD-D83E-D12C26E45EA1}"/>
          </ac:spMkLst>
        </pc:spChg>
        <pc:spChg chg="mod">
          <ac:chgData name="Michael Bauer" userId="59c3e81d-8f8c-46f7-acfd-fef1fb9220f5" providerId="ADAL" clId="{8FE931CD-66B5-451C-8AB8-845E6E99FCD8}" dt="2024-05-06T15:44:15.320" v="176"/>
          <ac:spMkLst>
            <pc:docMk/>
            <pc:sldMk cId="191556977" sldId="2147375222"/>
            <ac:spMk id="99" creationId="{4FA01DBD-6837-850E-1622-9F5234835936}"/>
          </ac:spMkLst>
        </pc:spChg>
        <pc:spChg chg="mod">
          <ac:chgData name="Michael Bauer" userId="59c3e81d-8f8c-46f7-acfd-fef1fb9220f5" providerId="ADAL" clId="{8FE931CD-66B5-451C-8AB8-845E6E99FCD8}" dt="2024-05-06T15:44:15.320" v="176"/>
          <ac:spMkLst>
            <pc:docMk/>
            <pc:sldMk cId="191556977" sldId="2147375222"/>
            <ac:spMk id="100" creationId="{C61EC28D-2978-372F-DC99-7E7F2309A36E}"/>
          </ac:spMkLst>
        </pc:spChg>
        <pc:spChg chg="mod">
          <ac:chgData name="Michael Bauer" userId="59c3e81d-8f8c-46f7-acfd-fef1fb9220f5" providerId="ADAL" clId="{8FE931CD-66B5-451C-8AB8-845E6E99FCD8}" dt="2024-05-06T15:44:15.320" v="176"/>
          <ac:spMkLst>
            <pc:docMk/>
            <pc:sldMk cId="191556977" sldId="2147375222"/>
            <ac:spMk id="101" creationId="{3722170F-6FEB-4300-9A90-37E16D972A75}"/>
          </ac:spMkLst>
        </pc:spChg>
        <pc:spChg chg="mod">
          <ac:chgData name="Michael Bauer" userId="59c3e81d-8f8c-46f7-acfd-fef1fb9220f5" providerId="ADAL" clId="{8FE931CD-66B5-451C-8AB8-845E6E99FCD8}" dt="2024-05-06T15:44:15.320" v="176"/>
          <ac:spMkLst>
            <pc:docMk/>
            <pc:sldMk cId="191556977" sldId="2147375222"/>
            <ac:spMk id="102" creationId="{6C047345-DDA1-469F-1EDA-47918ACD08F2}"/>
          </ac:spMkLst>
        </pc:spChg>
        <pc:spChg chg="mod">
          <ac:chgData name="Michael Bauer" userId="59c3e81d-8f8c-46f7-acfd-fef1fb9220f5" providerId="ADAL" clId="{8FE931CD-66B5-451C-8AB8-845E6E99FCD8}" dt="2024-05-06T15:44:15.320" v="176"/>
          <ac:spMkLst>
            <pc:docMk/>
            <pc:sldMk cId="191556977" sldId="2147375222"/>
            <ac:spMk id="103" creationId="{49AEE818-E92A-771C-18CA-4167C8B3BD59}"/>
          </ac:spMkLst>
        </pc:spChg>
        <pc:spChg chg="mod">
          <ac:chgData name="Michael Bauer" userId="59c3e81d-8f8c-46f7-acfd-fef1fb9220f5" providerId="ADAL" clId="{8FE931CD-66B5-451C-8AB8-845E6E99FCD8}" dt="2024-05-06T15:44:15.320" v="176"/>
          <ac:spMkLst>
            <pc:docMk/>
            <pc:sldMk cId="191556977" sldId="2147375222"/>
            <ac:spMk id="104" creationId="{60B7BE7E-2A05-4BEB-6B98-08B12EE2B7D9}"/>
          </ac:spMkLst>
        </pc:spChg>
        <pc:spChg chg="mod">
          <ac:chgData name="Michael Bauer" userId="59c3e81d-8f8c-46f7-acfd-fef1fb9220f5" providerId="ADAL" clId="{8FE931CD-66B5-451C-8AB8-845E6E99FCD8}" dt="2024-05-06T15:44:15.320" v="176"/>
          <ac:spMkLst>
            <pc:docMk/>
            <pc:sldMk cId="191556977" sldId="2147375222"/>
            <ac:spMk id="105" creationId="{99EDB373-94CD-18E4-7C84-D346BAC9D7B0}"/>
          </ac:spMkLst>
        </pc:spChg>
        <pc:spChg chg="mod">
          <ac:chgData name="Michael Bauer" userId="59c3e81d-8f8c-46f7-acfd-fef1fb9220f5" providerId="ADAL" clId="{8FE931CD-66B5-451C-8AB8-845E6E99FCD8}" dt="2024-05-06T15:44:15.320" v="176"/>
          <ac:spMkLst>
            <pc:docMk/>
            <pc:sldMk cId="191556977" sldId="2147375222"/>
            <ac:spMk id="106" creationId="{C1D0041C-46FF-80B4-FA83-A6D0D13E666C}"/>
          </ac:spMkLst>
        </pc:spChg>
        <pc:spChg chg="mod">
          <ac:chgData name="Michael Bauer" userId="59c3e81d-8f8c-46f7-acfd-fef1fb9220f5" providerId="ADAL" clId="{8FE931CD-66B5-451C-8AB8-845E6E99FCD8}" dt="2024-05-06T15:44:15.320" v="176"/>
          <ac:spMkLst>
            <pc:docMk/>
            <pc:sldMk cId="191556977" sldId="2147375222"/>
            <ac:spMk id="107" creationId="{B923E5CA-2F94-BE77-2A40-1BBEE682D8D4}"/>
          </ac:spMkLst>
        </pc:spChg>
        <pc:spChg chg="mod">
          <ac:chgData name="Michael Bauer" userId="59c3e81d-8f8c-46f7-acfd-fef1fb9220f5" providerId="ADAL" clId="{8FE931CD-66B5-451C-8AB8-845E6E99FCD8}" dt="2024-05-06T15:44:15.320" v="176"/>
          <ac:spMkLst>
            <pc:docMk/>
            <pc:sldMk cId="191556977" sldId="2147375222"/>
            <ac:spMk id="108" creationId="{9DFD8C2A-2813-78FE-DDB1-79088CB00CCC}"/>
          </ac:spMkLst>
        </pc:spChg>
        <pc:spChg chg="mod">
          <ac:chgData name="Michael Bauer" userId="59c3e81d-8f8c-46f7-acfd-fef1fb9220f5" providerId="ADAL" clId="{8FE931CD-66B5-451C-8AB8-845E6E99FCD8}" dt="2024-05-06T15:44:15.320" v="176"/>
          <ac:spMkLst>
            <pc:docMk/>
            <pc:sldMk cId="191556977" sldId="2147375222"/>
            <ac:spMk id="109" creationId="{3711B6C3-5C2C-25B4-624B-D17F9FF742B5}"/>
          </ac:spMkLst>
        </pc:spChg>
        <pc:spChg chg="mod">
          <ac:chgData name="Michael Bauer" userId="59c3e81d-8f8c-46f7-acfd-fef1fb9220f5" providerId="ADAL" clId="{8FE931CD-66B5-451C-8AB8-845E6E99FCD8}" dt="2024-05-06T15:44:15.320" v="176"/>
          <ac:spMkLst>
            <pc:docMk/>
            <pc:sldMk cId="191556977" sldId="2147375222"/>
            <ac:spMk id="111" creationId="{6EB12FB4-1D6D-E76F-FCD9-04200AFEDA82}"/>
          </ac:spMkLst>
        </pc:spChg>
        <pc:spChg chg="mod">
          <ac:chgData name="Michael Bauer" userId="59c3e81d-8f8c-46f7-acfd-fef1fb9220f5" providerId="ADAL" clId="{8FE931CD-66B5-451C-8AB8-845E6E99FCD8}" dt="2024-05-06T15:44:15.320" v="176"/>
          <ac:spMkLst>
            <pc:docMk/>
            <pc:sldMk cId="191556977" sldId="2147375222"/>
            <ac:spMk id="113" creationId="{69E65A75-FCE8-DAA3-1F54-E3327BF79933}"/>
          </ac:spMkLst>
        </pc:spChg>
        <pc:spChg chg="mod">
          <ac:chgData name="Michael Bauer" userId="59c3e81d-8f8c-46f7-acfd-fef1fb9220f5" providerId="ADAL" clId="{8FE931CD-66B5-451C-8AB8-845E6E99FCD8}" dt="2024-05-06T15:44:15.320" v="176"/>
          <ac:spMkLst>
            <pc:docMk/>
            <pc:sldMk cId="191556977" sldId="2147375222"/>
            <ac:spMk id="115" creationId="{6DED2DD3-EC33-A8D1-6C8A-1661CC799394}"/>
          </ac:spMkLst>
        </pc:spChg>
        <pc:spChg chg="mod">
          <ac:chgData name="Michael Bauer" userId="59c3e81d-8f8c-46f7-acfd-fef1fb9220f5" providerId="ADAL" clId="{8FE931CD-66B5-451C-8AB8-845E6E99FCD8}" dt="2024-05-06T15:44:15.320" v="176"/>
          <ac:spMkLst>
            <pc:docMk/>
            <pc:sldMk cId="191556977" sldId="2147375222"/>
            <ac:spMk id="117" creationId="{E2BC75B9-A506-AC48-C195-54C3AD56C3E0}"/>
          </ac:spMkLst>
        </pc:spChg>
        <pc:spChg chg="mod">
          <ac:chgData name="Michael Bauer" userId="59c3e81d-8f8c-46f7-acfd-fef1fb9220f5" providerId="ADAL" clId="{8FE931CD-66B5-451C-8AB8-845E6E99FCD8}" dt="2024-05-06T15:44:15.320" v="176"/>
          <ac:spMkLst>
            <pc:docMk/>
            <pc:sldMk cId="191556977" sldId="2147375222"/>
            <ac:spMk id="119" creationId="{1E3778E4-3DEB-B9DD-C77D-D1D57FA37B79}"/>
          </ac:spMkLst>
        </pc:spChg>
        <pc:spChg chg="mod">
          <ac:chgData name="Michael Bauer" userId="59c3e81d-8f8c-46f7-acfd-fef1fb9220f5" providerId="ADAL" clId="{8FE931CD-66B5-451C-8AB8-845E6E99FCD8}" dt="2024-05-06T15:44:15.320" v="176"/>
          <ac:spMkLst>
            <pc:docMk/>
            <pc:sldMk cId="191556977" sldId="2147375222"/>
            <ac:spMk id="121" creationId="{231049A7-9B35-2C13-C6AE-C9DEBCDA8316}"/>
          </ac:spMkLst>
        </pc:spChg>
        <pc:spChg chg="mod">
          <ac:chgData name="Michael Bauer" userId="59c3e81d-8f8c-46f7-acfd-fef1fb9220f5" providerId="ADAL" clId="{8FE931CD-66B5-451C-8AB8-845E6E99FCD8}" dt="2024-05-06T15:44:15.320" v="176"/>
          <ac:spMkLst>
            <pc:docMk/>
            <pc:sldMk cId="191556977" sldId="2147375222"/>
            <ac:spMk id="123" creationId="{222C4D25-1788-82BE-EC17-0E7742AA2A3F}"/>
          </ac:spMkLst>
        </pc:spChg>
        <pc:spChg chg="mod">
          <ac:chgData name="Michael Bauer" userId="59c3e81d-8f8c-46f7-acfd-fef1fb9220f5" providerId="ADAL" clId="{8FE931CD-66B5-451C-8AB8-845E6E99FCD8}" dt="2024-05-06T15:44:15.320" v="176"/>
          <ac:spMkLst>
            <pc:docMk/>
            <pc:sldMk cId="191556977" sldId="2147375222"/>
            <ac:spMk id="125" creationId="{D7962E33-95AA-9273-CA99-3656B913600F}"/>
          </ac:spMkLst>
        </pc:spChg>
        <pc:spChg chg="mod">
          <ac:chgData name="Michael Bauer" userId="59c3e81d-8f8c-46f7-acfd-fef1fb9220f5" providerId="ADAL" clId="{8FE931CD-66B5-451C-8AB8-845E6E99FCD8}" dt="2024-05-06T15:44:15.320" v="176"/>
          <ac:spMkLst>
            <pc:docMk/>
            <pc:sldMk cId="191556977" sldId="2147375222"/>
            <ac:spMk id="127" creationId="{850601B6-D709-61E7-3956-2FD99F2C36C5}"/>
          </ac:spMkLst>
        </pc:spChg>
        <pc:spChg chg="mod">
          <ac:chgData name="Michael Bauer" userId="59c3e81d-8f8c-46f7-acfd-fef1fb9220f5" providerId="ADAL" clId="{8FE931CD-66B5-451C-8AB8-845E6E99FCD8}" dt="2024-05-06T15:44:15.320" v="176"/>
          <ac:spMkLst>
            <pc:docMk/>
            <pc:sldMk cId="191556977" sldId="2147375222"/>
            <ac:spMk id="129" creationId="{DC74CAC0-214D-E495-1754-66C3F51AD860}"/>
          </ac:spMkLst>
        </pc:spChg>
        <pc:spChg chg="mod">
          <ac:chgData name="Michael Bauer" userId="59c3e81d-8f8c-46f7-acfd-fef1fb9220f5" providerId="ADAL" clId="{8FE931CD-66B5-451C-8AB8-845E6E99FCD8}" dt="2024-05-06T15:44:15.320" v="176"/>
          <ac:spMkLst>
            <pc:docMk/>
            <pc:sldMk cId="191556977" sldId="2147375222"/>
            <ac:spMk id="131" creationId="{3FC96212-B7B2-4E6F-9FBF-8FBCDC996AC0}"/>
          </ac:spMkLst>
        </pc:spChg>
        <pc:spChg chg="mod">
          <ac:chgData name="Michael Bauer" userId="59c3e81d-8f8c-46f7-acfd-fef1fb9220f5" providerId="ADAL" clId="{8FE931CD-66B5-451C-8AB8-845E6E99FCD8}" dt="2024-05-06T15:44:15.320" v="176"/>
          <ac:spMkLst>
            <pc:docMk/>
            <pc:sldMk cId="191556977" sldId="2147375222"/>
            <ac:spMk id="132" creationId="{4B553E7F-57F8-9AB3-52E5-704260519511}"/>
          </ac:spMkLst>
        </pc:spChg>
        <pc:spChg chg="mod">
          <ac:chgData name="Michael Bauer" userId="59c3e81d-8f8c-46f7-acfd-fef1fb9220f5" providerId="ADAL" clId="{8FE931CD-66B5-451C-8AB8-845E6E99FCD8}" dt="2024-05-06T15:44:15.320" v="176"/>
          <ac:spMkLst>
            <pc:docMk/>
            <pc:sldMk cId="191556977" sldId="2147375222"/>
            <ac:spMk id="133" creationId="{205B8A6B-57A0-EED2-6D36-B769E5EC5BD1}"/>
          </ac:spMkLst>
        </pc:spChg>
        <pc:spChg chg="mod">
          <ac:chgData name="Michael Bauer" userId="59c3e81d-8f8c-46f7-acfd-fef1fb9220f5" providerId="ADAL" clId="{8FE931CD-66B5-451C-8AB8-845E6E99FCD8}" dt="2024-05-06T15:44:15.320" v="176"/>
          <ac:spMkLst>
            <pc:docMk/>
            <pc:sldMk cId="191556977" sldId="2147375222"/>
            <ac:spMk id="134" creationId="{8CFD5F26-AFA9-ECD6-C65C-BEA72E40825F}"/>
          </ac:spMkLst>
        </pc:spChg>
        <pc:spChg chg="mod">
          <ac:chgData name="Michael Bauer" userId="59c3e81d-8f8c-46f7-acfd-fef1fb9220f5" providerId="ADAL" clId="{8FE931CD-66B5-451C-8AB8-845E6E99FCD8}" dt="2024-05-06T15:44:15.320" v="176"/>
          <ac:spMkLst>
            <pc:docMk/>
            <pc:sldMk cId="191556977" sldId="2147375222"/>
            <ac:spMk id="135" creationId="{91B5EE82-6273-9165-2140-F1425314BAB0}"/>
          </ac:spMkLst>
        </pc:spChg>
        <pc:spChg chg="mod">
          <ac:chgData name="Michael Bauer" userId="59c3e81d-8f8c-46f7-acfd-fef1fb9220f5" providerId="ADAL" clId="{8FE931CD-66B5-451C-8AB8-845E6E99FCD8}" dt="2024-05-06T15:44:15.320" v="176"/>
          <ac:spMkLst>
            <pc:docMk/>
            <pc:sldMk cId="191556977" sldId="2147375222"/>
            <ac:spMk id="138" creationId="{0D05B8F1-D06F-BC3D-2888-2555DF4A0089}"/>
          </ac:spMkLst>
        </pc:spChg>
        <pc:grpChg chg="add mod">
          <ac:chgData name="Michael Bauer" userId="59c3e81d-8f8c-46f7-acfd-fef1fb9220f5" providerId="ADAL" clId="{8FE931CD-66B5-451C-8AB8-845E6E99FCD8}" dt="2024-05-06T15:45:29.948" v="230" actId="1076"/>
          <ac:grpSpMkLst>
            <pc:docMk/>
            <pc:sldMk cId="191556977" sldId="2147375222"/>
            <ac:grpSpMk id="11" creationId="{2BC0BFEA-7BE0-690A-0DFD-700B6CC5AFAA}"/>
          </ac:grpSpMkLst>
        </pc:grpChg>
        <pc:grpChg chg="del">
          <ac:chgData name="Michael Bauer" userId="59c3e81d-8f8c-46f7-acfd-fef1fb9220f5" providerId="ADAL" clId="{8FE931CD-66B5-451C-8AB8-845E6E99FCD8}" dt="2024-05-06T15:28:34.932" v="86" actId="478"/>
          <ac:grpSpMkLst>
            <pc:docMk/>
            <pc:sldMk cId="191556977" sldId="2147375222"/>
            <ac:grpSpMk id="16" creationId="{6E6C7BCF-C571-4904-BF41-CEEB5B2031C8}"/>
          </ac:grpSpMkLst>
        </pc:grpChg>
        <pc:grpChg chg="mod">
          <ac:chgData name="Michael Bauer" userId="59c3e81d-8f8c-46f7-acfd-fef1fb9220f5" providerId="ADAL" clId="{8FE931CD-66B5-451C-8AB8-845E6E99FCD8}" dt="2024-05-06T15:44:15.320" v="176"/>
          <ac:grpSpMkLst>
            <pc:docMk/>
            <pc:sldMk cId="191556977" sldId="2147375222"/>
            <ac:grpSpMk id="24" creationId="{0C0AA2CB-8CC0-9FA8-E96B-BE315F726E45}"/>
          </ac:grpSpMkLst>
        </pc:grpChg>
        <pc:grpChg chg="del">
          <ac:chgData name="Michael Bauer" userId="59c3e81d-8f8c-46f7-acfd-fef1fb9220f5" providerId="ADAL" clId="{8FE931CD-66B5-451C-8AB8-845E6E99FCD8}" dt="2024-05-06T15:29:57.023" v="96" actId="478"/>
          <ac:grpSpMkLst>
            <pc:docMk/>
            <pc:sldMk cId="191556977" sldId="2147375222"/>
            <ac:grpSpMk id="26" creationId="{DF8EE710-72D8-4566-B88D-C3484B6B8927}"/>
          </ac:grpSpMkLst>
        </pc:grpChg>
        <pc:graphicFrameChg chg="add mod">
          <ac:chgData name="Michael Bauer" userId="59c3e81d-8f8c-46f7-acfd-fef1fb9220f5" providerId="ADAL" clId="{8FE931CD-66B5-451C-8AB8-845E6E99FCD8}" dt="2024-05-06T15:29:45.011" v="88"/>
          <ac:graphicFrameMkLst>
            <pc:docMk/>
            <pc:sldMk cId="191556977" sldId="2147375222"/>
            <ac:graphicFrameMk id="5" creationId="{33E909BA-4F33-603A-D31E-27C2B79D97BB}"/>
          </ac:graphicFrameMkLst>
        </pc:graphicFrameChg>
        <pc:graphicFrameChg chg="del">
          <ac:chgData name="Michael Bauer" userId="59c3e81d-8f8c-46f7-acfd-fef1fb9220f5" providerId="ADAL" clId="{8FE931CD-66B5-451C-8AB8-845E6E99FCD8}" dt="2024-05-06T15:29:39.624" v="87" actId="478"/>
          <ac:graphicFrameMkLst>
            <pc:docMk/>
            <pc:sldMk cId="191556977" sldId="2147375222"/>
            <ac:graphicFrameMk id="12" creationId="{126C33E6-F9E9-41EB-B400-A80469659350}"/>
          </ac:graphicFrameMkLst>
        </pc:graphicFrameChg>
        <pc:picChg chg="add del mod">
          <ac:chgData name="Michael Bauer" userId="59c3e81d-8f8c-46f7-acfd-fef1fb9220f5" providerId="ADAL" clId="{8FE931CD-66B5-451C-8AB8-845E6E99FCD8}" dt="2024-05-06T15:44:08.379" v="175" actId="478"/>
          <ac:picMkLst>
            <pc:docMk/>
            <pc:sldMk cId="191556977" sldId="2147375222"/>
            <ac:picMk id="3" creationId="{952E1EB0-EDA3-C02F-D288-D4D543B91E4E}"/>
          </ac:picMkLst>
        </pc:picChg>
        <pc:picChg chg="mod">
          <ac:chgData name="Michael Bauer" userId="59c3e81d-8f8c-46f7-acfd-fef1fb9220f5" providerId="ADAL" clId="{8FE931CD-66B5-451C-8AB8-845E6E99FCD8}" dt="2024-05-06T15:44:15.320" v="176"/>
          <ac:picMkLst>
            <pc:docMk/>
            <pc:sldMk cId="191556977" sldId="2147375222"/>
            <ac:picMk id="14" creationId="{F9F5EC80-94EB-868C-90F1-2CECD81F0FBE}"/>
          </ac:picMkLst>
        </pc:picChg>
        <pc:picChg chg="add mod">
          <ac:chgData name="Michael Bauer" userId="59c3e81d-8f8c-46f7-acfd-fef1fb9220f5" providerId="ADAL" clId="{8FE931CD-66B5-451C-8AB8-845E6E99FCD8}" dt="2024-05-06T15:46:10.783" v="240" actId="14100"/>
          <ac:picMkLst>
            <pc:docMk/>
            <pc:sldMk cId="191556977" sldId="2147375222"/>
            <ac:picMk id="139" creationId="{585634DE-3319-08C1-6E38-EF51E15A4A14}"/>
          </ac:picMkLst>
        </pc:picChg>
        <pc:cxnChg chg="mod">
          <ac:chgData name="Michael Bauer" userId="59c3e81d-8f8c-46f7-acfd-fef1fb9220f5" providerId="ADAL" clId="{8FE931CD-66B5-451C-8AB8-845E6E99FCD8}" dt="2024-05-06T15:44:15.320" v="176"/>
          <ac:cxnSpMkLst>
            <pc:docMk/>
            <pc:sldMk cId="191556977" sldId="2147375222"/>
            <ac:cxnSpMk id="29" creationId="{4CCD8DB9-E025-195C-B879-38732ADD1644}"/>
          </ac:cxnSpMkLst>
        </pc:cxnChg>
        <pc:cxnChg chg="mod">
          <ac:chgData name="Michael Bauer" userId="59c3e81d-8f8c-46f7-acfd-fef1fb9220f5" providerId="ADAL" clId="{8FE931CD-66B5-451C-8AB8-845E6E99FCD8}" dt="2024-05-06T15:44:15.320" v="176"/>
          <ac:cxnSpMkLst>
            <pc:docMk/>
            <pc:sldMk cId="191556977" sldId="2147375222"/>
            <ac:cxnSpMk id="33" creationId="{4B11AB74-F806-6D59-18BE-996DAE2A53E4}"/>
          </ac:cxnSpMkLst>
        </pc:cxnChg>
        <pc:cxnChg chg="mod">
          <ac:chgData name="Michael Bauer" userId="59c3e81d-8f8c-46f7-acfd-fef1fb9220f5" providerId="ADAL" clId="{8FE931CD-66B5-451C-8AB8-845E6E99FCD8}" dt="2024-05-06T15:44:15.320" v="176"/>
          <ac:cxnSpMkLst>
            <pc:docMk/>
            <pc:sldMk cId="191556977" sldId="2147375222"/>
            <ac:cxnSpMk id="36" creationId="{54A2C26F-F1E7-CEC0-0F32-564D34FB0A1F}"/>
          </ac:cxnSpMkLst>
        </pc:cxnChg>
        <pc:cxnChg chg="mod">
          <ac:chgData name="Michael Bauer" userId="59c3e81d-8f8c-46f7-acfd-fef1fb9220f5" providerId="ADAL" clId="{8FE931CD-66B5-451C-8AB8-845E6E99FCD8}" dt="2024-05-06T15:44:15.320" v="176"/>
          <ac:cxnSpMkLst>
            <pc:docMk/>
            <pc:sldMk cId="191556977" sldId="2147375222"/>
            <ac:cxnSpMk id="39" creationId="{BDDA17D1-8100-DA56-3090-B2DD03A35C00}"/>
          </ac:cxnSpMkLst>
        </pc:cxnChg>
        <pc:cxnChg chg="mod">
          <ac:chgData name="Michael Bauer" userId="59c3e81d-8f8c-46f7-acfd-fef1fb9220f5" providerId="ADAL" clId="{8FE931CD-66B5-451C-8AB8-845E6E99FCD8}" dt="2024-05-06T15:44:15.320" v="176"/>
          <ac:cxnSpMkLst>
            <pc:docMk/>
            <pc:sldMk cId="191556977" sldId="2147375222"/>
            <ac:cxnSpMk id="42" creationId="{84BB0CE4-602F-4808-C82D-B94671C77E42}"/>
          </ac:cxnSpMkLst>
        </pc:cxnChg>
        <pc:cxnChg chg="mod">
          <ac:chgData name="Michael Bauer" userId="59c3e81d-8f8c-46f7-acfd-fef1fb9220f5" providerId="ADAL" clId="{8FE931CD-66B5-451C-8AB8-845E6E99FCD8}" dt="2024-05-06T15:44:15.320" v="176"/>
          <ac:cxnSpMkLst>
            <pc:docMk/>
            <pc:sldMk cId="191556977" sldId="2147375222"/>
            <ac:cxnSpMk id="45" creationId="{2D3142C4-E036-0A5F-3CE0-101BE2B9CAA0}"/>
          </ac:cxnSpMkLst>
        </pc:cxnChg>
        <pc:cxnChg chg="mod">
          <ac:chgData name="Michael Bauer" userId="59c3e81d-8f8c-46f7-acfd-fef1fb9220f5" providerId="ADAL" clId="{8FE931CD-66B5-451C-8AB8-845E6E99FCD8}" dt="2024-05-06T15:44:15.320" v="176"/>
          <ac:cxnSpMkLst>
            <pc:docMk/>
            <pc:sldMk cId="191556977" sldId="2147375222"/>
            <ac:cxnSpMk id="48" creationId="{777C9664-A721-9BBF-2084-71CAC86CB572}"/>
          </ac:cxnSpMkLst>
        </pc:cxnChg>
        <pc:cxnChg chg="mod">
          <ac:chgData name="Michael Bauer" userId="59c3e81d-8f8c-46f7-acfd-fef1fb9220f5" providerId="ADAL" clId="{8FE931CD-66B5-451C-8AB8-845E6E99FCD8}" dt="2024-05-06T15:44:15.320" v="176"/>
          <ac:cxnSpMkLst>
            <pc:docMk/>
            <pc:sldMk cId="191556977" sldId="2147375222"/>
            <ac:cxnSpMk id="51" creationId="{BC1BB476-B2B4-9C2E-AFB0-0CFEE3067D85}"/>
          </ac:cxnSpMkLst>
        </pc:cxnChg>
        <pc:cxnChg chg="mod">
          <ac:chgData name="Michael Bauer" userId="59c3e81d-8f8c-46f7-acfd-fef1fb9220f5" providerId="ADAL" clId="{8FE931CD-66B5-451C-8AB8-845E6E99FCD8}" dt="2024-05-06T15:44:15.320" v="176"/>
          <ac:cxnSpMkLst>
            <pc:docMk/>
            <pc:sldMk cId="191556977" sldId="2147375222"/>
            <ac:cxnSpMk id="54" creationId="{06646344-D7EB-9939-797B-C4CE702652B3}"/>
          </ac:cxnSpMkLst>
        </pc:cxnChg>
        <pc:cxnChg chg="mod">
          <ac:chgData name="Michael Bauer" userId="59c3e81d-8f8c-46f7-acfd-fef1fb9220f5" providerId="ADAL" clId="{8FE931CD-66B5-451C-8AB8-845E6E99FCD8}" dt="2024-05-06T15:44:15.320" v="176"/>
          <ac:cxnSpMkLst>
            <pc:docMk/>
            <pc:sldMk cId="191556977" sldId="2147375222"/>
            <ac:cxnSpMk id="57" creationId="{2488D365-4E4A-ECC8-69D7-3C563A2686DA}"/>
          </ac:cxnSpMkLst>
        </pc:cxnChg>
        <pc:cxnChg chg="mod">
          <ac:chgData name="Michael Bauer" userId="59c3e81d-8f8c-46f7-acfd-fef1fb9220f5" providerId="ADAL" clId="{8FE931CD-66B5-451C-8AB8-845E6E99FCD8}" dt="2024-05-06T15:44:15.320" v="176"/>
          <ac:cxnSpMkLst>
            <pc:docMk/>
            <pc:sldMk cId="191556977" sldId="2147375222"/>
            <ac:cxnSpMk id="60" creationId="{899C3E00-DBEA-1E9E-D515-8A17356CD3FA}"/>
          </ac:cxnSpMkLst>
        </pc:cxnChg>
        <pc:cxnChg chg="mod">
          <ac:chgData name="Michael Bauer" userId="59c3e81d-8f8c-46f7-acfd-fef1fb9220f5" providerId="ADAL" clId="{8FE931CD-66B5-451C-8AB8-845E6E99FCD8}" dt="2024-05-06T15:44:15.320" v="176"/>
          <ac:cxnSpMkLst>
            <pc:docMk/>
            <pc:sldMk cId="191556977" sldId="2147375222"/>
            <ac:cxnSpMk id="63" creationId="{D114B891-8F42-7A76-E54E-348DB20E611F}"/>
          </ac:cxnSpMkLst>
        </pc:cxnChg>
        <pc:cxnChg chg="mod">
          <ac:chgData name="Michael Bauer" userId="59c3e81d-8f8c-46f7-acfd-fef1fb9220f5" providerId="ADAL" clId="{8FE931CD-66B5-451C-8AB8-845E6E99FCD8}" dt="2024-05-06T15:44:15.320" v="176"/>
          <ac:cxnSpMkLst>
            <pc:docMk/>
            <pc:sldMk cId="191556977" sldId="2147375222"/>
            <ac:cxnSpMk id="66" creationId="{8F391E74-56DF-5F98-2AA8-166AE287D913}"/>
          </ac:cxnSpMkLst>
        </pc:cxnChg>
        <pc:cxnChg chg="mod">
          <ac:chgData name="Michael Bauer" userId="59c3e81d-8f8c-46f7-acfd-fef1fb9220f5" providerId="ADAL" clId="{8FE931CD-66B5-451C-8AB8-845E6E99FCD8}" dt="2024-05-06T15:44:15.320" v="176"/>
          <ac:cxnSpMkLst>
            <pc:docMk/>
            <pc:sldMk cId="191556977" sldId="2147375222"/>
            <ac:cxnSpMk id="69" creationId="{B7C23D16-723E-5836-273E-9D646CE0F7E0}"/>
          </ac:cxnSpMkLst>
        </pc:cxnChg>
        <pc:cxnChg chg="mod">
          <ac:chgData name="Michael Bauer" userId="59c3e81d-8f8c-46f7-acfd-fef1fb9220f5" providerId="ADAL" clId="{8FE931CD-66B5-451C-8AB8-845E6E99FCD8}" dt="2024-05-06T15:44:15.320" v="176"/>
          <ac:cxnSpMkLst>
            <pc:docMk/>
            <pc:sldMk cId="191556977" sldId="2147375222"/>
            <ac:cxnSpMk id="72" creationId="{C323E37C-9486-9404-4F0B-213DA067B1B5}"/>
          </ac:cxnSpMkLst>
        </pc:cxnChg>
        <pc:cxnChg chg="mod">
          <ac:chgData name="Michael Bauer" userId="59c3e81d-8f8c-46f7-acfd-fef1fb9220f5" providerId="ADAL" clId="{8FE931CD-66B5-451C-8AB8-845E6E99FCD8}" dt="2024-05-06T15:44:15.320" v="176"/>
          <ac:cxnSpMkLst>
            <pc:docMk/>
            <pc:sldMk cId="191556977" sldId="2147375222"/>
            <ac:cxnSpMk id="75" creationId="{F810CB65-0325-7776-B0A1-46D3C8832F12}"/>
          </ac:cxnSpMkLst>
        </pc:cxnChg>
        <pc:cxnChg chg="mod">
          <ac:chgData name="Michael Bauer" userId="59c3e81d-8f8c-46f7-acfd-fef1fb9220f5" providerId="ADAL" clId="{8FE931CD-66B5-451C-8AB8-845E6E99FCD8}" dt="2024-05-06T15:44:15.320" v="176"/>
          <ac:cxnSpMkLst>
            <pc:docMk/>
            <pc:sldMk cId="191556977" sldId="2147375222"/>
            <ac:cxnSpMk id="78" creationId="{0401D853-2B91-1E3D-F78B-70B64A09318B}"/>
          </ac:cxnSpMkLst>
        </pc:cxnChg>
        <pc:cxnChg chg="mod">
          <ac:chgData name="Michael Bauer" userId="59c3e81d-8f8c-46f7-acfd-fef1fb9220f5" providerId="ADAL" clId="{8FE931CD-66B5-451C-8AB8-845E6E99FCD8}" dt="2024-05-06T15:44:15.320" v="176"/>
          <ac:cxnSpMkLst>
            <pc:docMk/>
            <pc:sldMk cId="191556977" sldId="2147375222"/>
            <ac:cxnSpMk id="81" creationId="{8196D4CD-73FE-BCAD-CAE1-74CF342A1DFB}"/>
          </ac:cxnSpMkLst>
        </pc:cxnChg>
        <pc:cxnChg chg="mod">
          <ac:chgData name="Michael Bauer" userId="59c3e81d-8f8c-46f7-acfd-fef1fb9220f5" providerId="ADAL" clId="{8FE931CD-66B5-451C-8AB8-845E6E99FCD8}" dt="2024-05-06T15:44:15.320" v="176"/>
          <ac:cxnSpMkLst>
            <pc:docMk/>
            <pc:sldMk cId="191556977" sldId="2147375222"/>
            <ac:cxnSpMk id="84" creationId="{78996D6A-5BEB-E199-8B23-416794626169}"/>
          </ac:cxnSpMkLst>
        </pc:cxnChg>
        <pc:cxnChg chg="mod">
          <ac:chgData name="Michael Bauer" userId="59c3e81d-8f8c-46f7-acfd-fef1fb9220f5" providerId="ADAL" clId="{8FE931CD-66B5-451C-8AB8-845E6E99FCD8}" dt="2024-05-06T15:44:15.320" v="176"/>
          <ac:cxnSpMkLst>
            <pc:docMk/>
            <pc:sldMk cId="191556977" sldId="2147375222"/>
            <ac:cxnSpMk id="87" creationId="{3D796807-D286-63CE-3925-0C431BFF41F1}"/>
          </ac:cxnSpMkLst>
        </pc:cxnChg>
        <pc:cxnChg chg="mod">
          <ac:chgData name="Michael Bauer" userId="59c3e81d-8f8c-46f7-acfd-fef1fb9220f5" providerId="ADAL" clId="{8FE931CD-66B5-451C-8AB8-845E6E99FCD8}" dt="2024-05-06T15:44:15.320" v="176"/>
          <ac:cxnSpMkLst>
            <pc:docMk/>
            <pc:sldMk cId="191556977" sldId="2147375222"/>
            <ac:cxnSpMk id="110" creationId="{B348E1A3-A7D5-1800-63E7-FC086467D47B}"/>
          </ac:cxnSpMkLst>
        </pc:cxnChg>
        <pc:cxnChg chg="mod">
          <ac:chgData name="Michael Bauer" userId="59c3e81d-8f8c-46f7-acfd-fef1fb9220f5" providerId="ADAL" clId="{8FE931CD-66B5-451C-8AB8-845E6E99FCD8}" dt="2024-05-06T15:44:15.320" v="176"/>
          <ac:cxnSpMkLst>
            <pc:docMk/>
            <pc:sldMk cId="191556977" sldId="2147375222"/>
            <ac:cxnSpMk id="112" creationId="{2BF06534-DE29-895C-56CE-10382D491794}"/>
          </ac:cxnSpMkLst>
        </pc:cxnChg>
        <pc:cxnChg chg="mod">
          <ac:chgData name="Michael Bauer" userId="59c3e81d-8f8c-46f7-acfd-fef1fb9220f5" providerId="ADAL" clId="{8FE931CD-66B5-451C-8AB8-845E6E99FCD8}" dt="2024-05-06T15:44:15.320" v="176"/>
          <ac:cxnSpMkLst>
            <pc:docMk/>
            <pc:sldMk cId="191556977" sldId="2147375222"/>
            <ac:cxnSpMk id="114" creationId="{594D8FB8-5A28-C58E-A7C3-30B3DA50D9AF}"/>
          </ac:cxnSpMkLst>
        </pc:cxnChg>
        <pc:cxnChg chg="mod">
          <ac:chgData name="Michael Bauer" userId="59c3e81d-8f8c-46f7-acfd-fef1fb9220f5" providerId="ADAL" clId="{8FE931CD-66B5-451C-8AB8-845E6E99FCD8}" dt="2024-05-06T15:44:15.320" v="176"/>
          <ac:cxnSpMkLst>
            <pc:docMk/>
            <pc:sldMk cId="191556977" sldId="2147375222"/>
            <ac:cxnSpMk id="116" creationId="{37A25FC7-A195-ED0A-E9BC-C002B155699E}"/>
          </ac:cxnSpMkLst>
        </pc:cxnChg>
        <pc:cxnChg chg="mod">
          <ac:chgData name="Michael Bauer" userId="59c3e81d-8f8c-46f7-acfd-fef1fb9220f5" providerId="ADAL" clId="{8FE931CD-66B5-451C-8AB8-845E6E99FCD8}" dt="2024-05-06T15:44:15.320" v="176"/>
          <ac:cxnSpMkLst>
            <pc:docMk/>
            <pc:sldMk cId="191556977" sldId="2147375222"/>
            <ac:cxnSpMk id="118" creationId="{981F50CB-F409-9A0F-333F-8C0AC364FAAC}"/>
          </ac:cxnSpMkLst>
        </pc:cxnChg>
        <pc:cxnChg chg="mod">
          <ac:chgData name="Michael Bauer" userId="59c3e81d-8f8c-46f7-acfd-fef1fb9220f5" providerId="ADAL" clId="{8FE931CD-66B5-451C-8AB8-845E6E99FCD8}" dt="2024-05-06T15:44:15.320" v="176"/>
          <ac:cxnSpMkLst>
            <pc:docMk/>
            <pc:sldMk cId="191556977" sldId="2147375222"/>
            <ac:cxnSpMk id="120" creationId="{72F06323-1E72-10DE-C730-CD9DE418349E}"/>
          </ac:cxnSpMkLst>
        </pc:cxnChg>
        <pc:cxnChg chg="mod">
          <ac:chgData name="Michael Bauer" userId="59c3e81d-8f8c-46f7-acfd-fef1fb9220f5" providerId="ADAL" clId="{8FE931CD-66B5-451C-8AB8-845E6E99FCD8}" dt="2024-05-06T15:44:15.320" v="176"/>
          <ac:cxnSpMkLst>
            <pc:docMk/>
            <pc:sldMk cId="191556977" sldId="2147375222"/>
            <ac:cxnSpMk id="122" creationId="{7E12EEC8-A906-30EE-518D-3A82C32ADE0D}"/>
          </ac:cxnSpMkLst>
        </pc:cxnChg>
        <pc:cxnChg chg="mod">
          <ac:chgData name="Michael Bauer" userId="59c3e81d-8f8c-46f7-acfd-fef1fb9220f5" providerId="ADAL" clId="{8FE931CD-66B5-451C-8AB8-845E6E99FCD8}" dt="2024-05-06T15:44:15.320" v="176"/>
          <ac:cxnSpMkLst>
            <pc:docMk/>
            <pc:sldMk cId="191556977" sldId="2147375222"/>
            <ac:cxnSpMk id="124" creationId="{DCD14FD8-CDA7-EAE5-492D-DE1CA3DAF22F}"/>
          </ac:cxnSpMkLst>
        </pc:cxnChg>
        <pc:cxnChg chg="mod">
          <ac:chgData name="Michael Bauer" userId="59c3e81d-8f8c-46f7-acfd-fef1fb9220f5" providerId="ADAL" clId="{8FE931CD-66B5-451C-8AB8-845E6E99FCD8}" dt="2024-05-06T15:44:15.320" v="176"/>
          <ac:cxnSpMkLst>
            <pc:docMk/>
            <pc:sldMk cId="191556977" sldId="2147375222"/>
            <ac:cxnSpMk id="126" creationId="{7573FAE8-C269-BA33-FDA5-AF8953891ACF}"/>
          </ac:cxnSpMkLst>
        </pc:cxnChg>
        <pc:cxnChg chg="mod">
          <ac:chgData name="Michael Bauer" userId="59c3e81d-8f8c-46f7-acfd-fef1fb9220f5" providerId="ADAL" clId="{8FE931CD-66B5-451C-8AB8-845E6E99FCD8}" dt="2024-05-06T15:44:15.320" v="176"/>
          <ac:cxnSpMkLst>
            <pc:docMk/>
            <pc:sldMk cId="191556977" sldId="2147375222"/>
            <ac:cxnSpMk id="128" creationId="{9CBF4646-9DD3-CD5D-0CAA-987A9DEEF929}"/>
          </ac:cxnSpMkLst>
        </pc:cxnChg>
        <pc:cxnChg chg="mod">
          <ac:chgData name="Michael Bauer" userId="59c3e81d-8f8c-46f7-acfd-fef1fb9220f5" providerId="ADAL" clId="{8FE931CD-66B5-451C-8AB8-845E6E99FCD8}" dt="2024-05-06T15:44:15.320" v="176"/>
          <ac:cxnSpMkLst>
            <pc:docMk/>
            <pc:sldMk cId="191556977" sldId="2147375222"/>
            <ac:cxnSpMk id="130" creationId="{7E2F308F-DB6E-9D7E-1BFF-0692F14CBD4E}"/>
          </ac:cxnSpMkLst>
        </pc:cxnChg>
        <pc:cxnChg chg="mod">
          <ac:chgData name="Michael Bauer" userId="59c3e81d-8f8c-46f7-acfd-fef1fb9220f5" providerId="ADAL" clId="{8FE931CD-66B5-451C-8AB8-845E6E99FCD8}" dt="2024-05-06T15:44:15.320" v="176"/>
          <ac:cxnSpMkLst>
            <pc:docMk/>
            <pc:sldMk cId="191556977" sldId="2147375222"/>
            <ac:cxnSpMk id="136" creationId="{CE8EAC65-C0A4-2B33-C62C-A59DDD724450}"/>
          </ac:cxnSpMkLst>
        </pc:cxnChg>
        <pc:cxnChg chg="mod">
          <ac:chgData name="Michael Bauer" userId="59c3e81d-8f8c-46f7-acfd-fef1fb9220f5" providerId="ADAL" clId="{8FE931CD-66B5-451C-8AB8-845E6E99FCD8}" dt="2024-05-06T15:44:15.320" v="176"/>
          <ac:cxnSpMkLst>
            <pc:docMk/>
            <pc:sldMk cId="191556977" sldId="2147375222"/>
            <ac:cxnSpMk id="137" creationId="{423DEEBB-F143-640C-86E2-5362AAF22987}"/>
          </ac:cxnSpMkLst>
        </pc:cxnChg>
      </pc:sldChg>
      <pc:sldChg chg="del">
        <pc:chgData name="Michael Bauer" userId="59c3e81d-8f8c-46f7-acfd-fef1fb9220f5" providerId="ADAL" clId="{8FE931CD-66B5-451C-8AB8-845E6E99FCD8}" dt="2024-05-06T15:49:44.314" v="280" actId="2696"/>
        <pc:sldMkLst>
          <pc:docMk/>
          <pc:sldMk cId="3679438254" sldId="2147375223"/>
        </pc:sldMkLst>
      </pc:sldChg>
      <pc:sldChg chg="del">
        <pc:chgData name="Michael Bauer" userId="59c3e81d-8f8c-46f7-acfd-fef1fb9220f5" providerId="ADAL" clId="{8FE931CD-66B5-451C-8AB8-845E6E99FCD8}" dt="2024-05-06T15:42:43.750" v="172" actId="2696"/>
        <pc:sldMkLst>
          <pc:docMk/>
          <pc:sldMk cId="3684250425" sldId="2147469889"/>
        </pc:sldMkLst>
      </pc:sldChg>
      <pc:sldChg chg="delSp modSp del mod">
        <pc:chgData name="Michael Bauer" userId="59c3e81d-8f8c-46f7-acfd-fef1fb9220f5" providerId="ADAL" clId="{8FE931CD-66B5-451C-8AB8-845E6E99FCD8}" dt="2024-05-08T11:48:43.896" v="1718" actId="2696"/>
        <pc:sldMkLst>
          <pc:docMk/>
          <pc:sldMk cId="754222378" sldId="2147469891"/>
        </pc:sldMkLst>
        <pc:spChg chg="del mod">
          <ac:chgData name="Michael Bauer" userId="59c3e81d-8f8c-46f7-acfd-fef1fb9220f5" providerId="ADAL" clId="{8FE931CD-66B5-451C-8AB8-845E6E99FCD8}" dt="2024-05-06T12:48:55.445" v="6" actId="478"/>
          <ac:spMkLst>
            <pc:docMk/>
            <pc:sldMk cId="754222378" sldId="2147469891"/>
            <ac:spMk id="2" creationId="{1715301E-311A-4C87-B5D7-4EBF48A3D1A3}"/>
          </ac:spMkLst>
        </pc:spChg>
      </pc:sldChg>
      <pc:sldChg chg="del">
        <pc:chgData name="Michael Bauer" userId="59c3e81d-8f8c-46f7-acfd-fef1fb9220f5" providerId="ADAL" clId="{8FE931CD-66B5-451C-8AB8-845E6E99FCD8}" dt="2024-05-06T15:49:51.773" v="281" actId="2696"/>
        <pc:sldMkLst>
          <pc:docMk/>
          <pc:sldMk cId="1776538551" sldId="2147469893"/>
        </pc:sldMkLst>
      </pc:sldChg>
      <pc:sldChg chg="modSp del mod">
        <pc:chgData name="Michael Bauer" userId="59c3e81d-8f8c-46f7-acfd-fef1fb9220f5" providerId="ADAL" clId="{8FE931CD-66B5-451C-8AB8-845E6E99FCD8}" dt="2024-05-06T15:10:35.371" v="38" actId="2696"/>
        <pc:sldMkLst>
          <pc:docMk/>
          <pc:sldMk cId="54732064" sldId="2147469895"/>
        </pc:sldMkLst>
        <pc:spChg chg="mod">
          <ac:chgData name="Michael Bauer" userId="59c3e81d-8f8c-46f7-acfd-fef1fb9220f5" providerId="ADAL" clId="{8FE931CD-66B5-451C-8AB8-845E6E99FCD8}" dt="2024-05-06T15:06:57.911" v="28" actId="20577"/>
          <ac:spMkLst>
            <pc:docMk/>
            <pc:sldMk cId="54732064" sldId="2147469895"/>
            <ac:spMk id="4" creationId="{8492FFC8-B556-4390-814E-C7E7B8FCF55A}"/>
          </ac:spMkLst>
        </pc:spChg>
      </pc:sldChg>
      <pc:sldChg chg="del">
        <pc:chgData name="Michael Bauer" userId="59c3e81d-8f8c-46f7-acfd-fef1fb9220f5" providerId="ADAL" clId="{8FE931CD-66B5-451C-8AB8-845E6E99FCD8}" dt="2024-05-06T15:48:39.695" v="261" actId="2696"/>
        <pc:sldMkLst>
          <pc:docMk/>
          <pc:sldMk cId="3229178127" sldId="2147469897"/>
        </pc:sldMkLst>
      </pc:sldChg>
      <pc:sldChg chg="del">
        <pc:chgData name="Michael Bauer" userId="59c3e81d-8f8c-46f7-acfd-fef1fb9220f5" providerId="ADAL" clId="{8FE931CD-66B5-451C-8AB8-845E6E99FCD8}" dt="2024-05-06T12:49:19.567" v="7" actId="2696"/>
        <pc:sldMkLst>
          <pc:docMk/>
          <pc:sldMk cId="416218776" sldId="2147469900"/>
        </pc:sldMkLst>
      </pc:sldChg>
      <pc:sldChg chg="del">
        <pc:chgData name="Michael Bauer" userId="59c3e81d-8f8c-46f7-acfd-fef1fb9220f5" providerId="ADAL" clId="{8FE931CD-66B5-451C-8AB8-845E6E99FCD8}" dt="2024-05-06T15:48:28.853" v="260" actId="2696"/>
        <pc:sldMkLst>
          <pc:docMk/>
          <pc:sldMk cId="3893992063" sldId="2147469902"/>
        </pc:sldMkLst>
      </pc:sldChg>
      <pc:sldChg chg="del">
        <pc:chgData name="Michael Bauer" userId="59c3e81d-8f8c-46f7-acfd-fef1fb9220f5" providerId="ADAL" clId="{8FE931CD-66B5-451C-8AB8-845E6E99FCD8}" dt="2024-05-06T15:52:35.592" v="415" actId="2696"/>
        <pc:sldMkLst>
          <pc:docMk/>
          <pc:sldMk cId="899125205" sldId="2147469904"/>
        </pc:sldMkLst>
      </pc:sldChg>
      <pc:sldChg chg="del">
        <pc:chgData name="Michael Bauer" userId="59c3e81d-8f8c-46f7-acfd-fef1fb9220f5" providerId="ADAL" clId="{8FE931CD-66B5-451C-8AB8-845E6E99FCD8}" dt="2024-05-06T15:10:28.432" v="37" actId="2696"/>
        <pc:sldMkLst>
          <pc:docMk/>
          <pc:sldMk cId="3066327261" sldId="2147469907"/>
        </pc:sldMkLst>
      </pc:sldChg>
      <pc:sldChg chg="delSp modSp del mod">
        <pc:chgData name="Michael Bauer" userId="59c3e81d-8f8c-46f7-acfd-fef1fb9220f5" providerId="ADAL" clId="{8FE931CD-66B5-451C-8AB8-845E6E99FCD8}" dt="2024-05-06T15:10:39.067" v="39" actId="2696"/>
        <pc:sldMkLst>
          <pc:docMk/>
          <pc:sldMk cId="1881151510" sldId="2147469911"/>
        </pc:sldMkLst>
        <pc:spChg chg="del">
          <ac:chgData name="Michael Bauer" userId="59c3e81d-8f8c-46f7-acfd-fef1fb9220f5" providerId="ADAL" clId="{8FE931CD-66B5-451C-8AB8-845E6E99FCD8}" dt="2024-05-06T12:51:28.178" v="9" actId="478"/>
          <ac:spMkLst>
            <pc:docMk/>
            <pc:sldMk cId="1881151510" sldId="2147469911"/>
            <ac:spMk id="9" creationId="{44C10CF3-BB59-4DBA-B58F-77D49458B8B7}"/>
          </ac:spMkLst>
        </pc:spChg>
        <pc:spChg chg="mod">
          <ac:chgData name="Michael Bauer" userId="59c3e81d-8f8c-46f7-acfd-fef1fb9220f5" providerId="ADAL" clId="{8FE931CD-66B5-451C-8AB8-845E6E99FCD8}" dt="2024-05-06T12:51:38.128" v="11" actId="20577"/>
          <ac:spMkLst>
            <pc:docMk/>
            <pc:sldMk cId="1881151510" sldId="2147469911"/>
            <ac:spMk id="25" creationId="{7792DA61-F049-463D-89CC-435F7305D70A}"/>
          </ac:spMkLst>
        </pc:spChg>
        <pc:graphicFrameChg chg="mod modGraphic">
          <ac:chgData name="Michael Bauer" userId="59c3e81d-8f8c-46f7-acfd-fef1fb9220f5" providerId="ADAL" clId="{8FE931CD-66B5-451C-8AB8-845E6E99FCD8}" dt="2024-05-06T15:03:11.962" v="22" actId="1037"/>
          <ac:graphicFrameMkLst>
            <pc:docMk/>
            <pc:sldMk cId="1881151510" sldId="2147469911"/>
            <ac:graphicFrameMk id="5" creationId="{498CFDD9-8864-48E2-950D-33A97CE482F6}"/>
          </ac:graphicFrameMkLst>
        </pc:graphicFrameChg>
        <pc:picChg chg="del">
          <ac:chgData name="Michael Bauer" userId="59c3e81d-8f8c-46f7-acfd-fef1fb9220f5" providerId="ADAL" clId="{8FE931CD-66B5-451C-8AB8-845E6E99FCD8}" dt="2024-05-06T12:51:30.295" v="10" actId="478"/>
          <ac:picMkLst>
            <pc:docMk/>
            <pc:sldMk cId="1881151510" sldId="2147469911"/>
            <ac:picMk id="8" creationId="{9E37E6DF-2E27-44CE-AD18-6C819A4667EA}"/>
          </ac:picMkLst>
        </pc:picChg>
      </pc:sldChg>
      <pc:sldChg chg="del">
        <pc:chgData name="Michael Bauer" userId="59c3e81d-8f8c-46f7-acfd-fef1fb9220f5" providerId="ADAL" clId="{8FE931CD-66B5-451C-8AB8-845E6E99FCD8}" dt="2024-05-08T10:22:30.349" v="1634" actId="2696"/>
        <pc:sldMkLst>
          <pc:docMk/>
          <pc:sldMk cId="2333459336" sldId="2147469915"/>
        </pc:sldMkLst>
      </pc:sldChg>
      <pc:sldChg chg="del">
        <pc:chgData name="Michael Bauer" userId="59c3e81d-8f8c-46f7-acfd-fef1fb9220f5" providerId="ADAL" clId="{8FE931CD-66B5-451C-8AB8-845E6E99FCD8}" dt="2024-05-08T14:30:14.056" v="1794" actId="2696"/>
        <pc:sldMkLst>
          <pc:docMk/>
          <pc:sldMk cId="2779898004" sldId="2147469916"/>
        </pc:sldMkLst>
      </pc:sldChg>
      <pc:sldChg chg="delSp modSp mod ord modNotesTx">
        <pc:chgData name="Michael Bauer" userId="59c3e81d-8f8c-46f7-acfd-fef1fb9220f5" providerId="ADAL" clId="{8FE931CD-66B5-451C-8AB8-845E6E99FCD8}" dt="2024-05-08T15:15:41.231" v="1984" actId="20577"/>
        <pc:sldMkLst>
          <pc:docMk/>
          <pc:sldMk cId="515246607" sldId="2147469917"/>
        </pc:sldMkLst>
        <pc:spChg chg="mod">
          <ac:chgData name="Michael Bauer" userId="59c3e81d-8f8c-46f7-acfd-fef1fb9220f5" providerId="ADAL" clId="{8FE931CD-66B5-451C-8AB8-845E6E99FCD8}" dt="2024-05-08T09:13:24.242" v="1135" actId="14100"/>
          <ac:spMkLst>
            <pc:docMk/>
            <pc:sldMk cId="515246607" sldId="2147469917"/>
            <ac:spMk id="2" creationId="{DE739CEE-2817-4FA1-84F8-2826C9C52F5A}"/>
          </ac:spMkLst>
        </pc:spChg>
        <pc:spChg chg="mod replST delST">
          <ac:chgData name="Michael Bauer" userId="59c3e81d-8f8c-46f7-acfd-fef1fb9220f5" providerId="ADAL" clId="{8FE931CD-66B5-451C-8AB8-845E6E99FCD8}" dt="2024-05-06T15:51:41.310" v="411" actId="1076"/>
          <ac:spMkLst>
            <pc:docMk/>
            <pc:sldMk cId="515246607" sldId="2147469917"/>
            <ac:spMk id="3" creationId="{4D19B56A-EE8F-42C3-B1B7-9946D84F876C}"/>
          </ac:spMkLst>
        </pc:spChg>
        <pc:spChg chg="mod">
          <ac:chgData name="Michael Bauer" userId="59c3e81d-8f8c-46f7-acfd-fef1fb9220f5" providerId="ADAL" clId="{8FE931CD-66B5-451C-8AB8-845E6E99FCD8}" dt="2024-05-08T15:07:05.777" v="1923" actId="20577"/>
          <ac:spMkLst>
            <pc:docMk/>
            <pc:sldMk cId="515246607" sldId="2147469917"/>
            <ac:spMk id="5" creationId="{65900A18-51F1-404B-B8AF-A30D29C61ACE}"/>
          </ac:spMkLst>
        </pc:spChg>
        <pc:spChg chg="mod">
          <ac:chgData name="Michael Bauer" userId="59c3e81d-8f8c-46f7-acfd-fef1fb9220f5" providerId="ADAL" clId="{8FE931CD-66B5-451C-8AB8-845E6E99FCD8}" dt="2024-05-06T15:51:33.311" v="410" actId="1076"/>
          <ac:spMkLst>
            <pc:docMk/>
            <pc:sldMk cId="515246607" sldId="2147469917"/>
            <ac:spMk id="7" creationId="{74025699-7BA4-4E00-8C0C-D8F29C79906B}"/>
          </ac:spMkLst>
        </pc:spChg>
        <pc:spChg chg="mod replST delST">
          <ac:chgData name="Michael Bauer" userId="59c3e81d-8f8c-46f7-acfd-fef1fb9220f5" providerId="ADAL" clId="{8FE931CD-66B5-451C-8AB8-845E6E99FCD8}" dt="2024-05-06T15:50:14.312" v="394" actId="1036"/>
          <ac:spMkLst>
            <pc:docMk/>
            <pc:sldMk cId="515246607" sldId="2147469917"/>
            <ac:spMk id="13" creationId="{C29900FD-C404-4807-A650-9B7D4873F4FB}"/>
          </ac:spMkLst>
        </pc:spChg>
        <pc:spChg chg="mod replST delST">
          <ac:chgData name="Michael Bauer" userId="59c3e81d-8f8c-46f7-acfd-fef1fb9220f5" providerId="ADAL" clId="{8FE931CD-66B5-451C-8AB8-845E6E99FCD8}" dt="2024-05-06T15:50:14.312" v="394" actId="1036"/>
          <ac:spMkLst>
            <pc:docMk/>
            <pc:sldMk cId="515246607" sldId="2147469917"/>
            <ac:spMk id="14" creationId="{0458633E-9E70-4522-B024-60B865B0DFED}"/>
          </ac:spMkLst>
        </pc:spChg>
        <pc:spChg chg="mod replST delST">
          <ac:chgData name="Michael Bauer" userId="59c3e81d-8f8c-46f7-acfd-fef1fb9220f5" providerId="ADAL" clId="{8FE931CD-66B5-451C-8AB8-845E6E99FCD8}" dt="2024-05-06T15:50:14.312" v="394" actId="1036"/>
          <ac:spMkLst>
            <pc:docMk/>
            <pc:sldMk cId="515246607" sldId="2147469917"/>
            <ac:spMk id="15" creationId="{9D72BC89-CD16-4573-8DF7-FAD04312969B}"/>
          </ac:spMkLst>
        </pc:spChg>
        <pc:spChg chg="mod replST delST">
          <ac:chgData name="Michael Bauer" userId="59c3e81d-8f8c-46f7-acfd-fef1fb9220f5" providerId="ADAL" clId="{8FE931CD-66B5-451C-8AB8-845E6E99FCD8}" dt="2024-05-06T15:50:14.312" v="394" actId="1036"/>
          <ac:spMkLst>
            <pc:docMk/>
            <pc:sldMk cId="515246607" sldId="2147469917"/>
            <ac:spMk id="16" creationId="{5CB0513A-160F-4DC3-B387-C4D273AC2860}"/>
          </ac:spMkLst>
        </pc:spChg>
        <pc:spChg chg="del replST delST">
          <ac:chgData name="Michael Bauer" userId="59c3e81d-8f8c-46f7-acfd-fef1fb9220f5" providerId="ADAL" clId="{8FE931CD-66B5-451C-8AB8-845E6E99FCD8}" dt="2024-05-06T15:49:31.359" v="279" actId="478"/>
          <ac:spMkLst>
            <pc:docMk/>
            <pc:sldMk cId="515246607" sldId="2147469917"/>
            <ac:spMk id="25" creationId="{BC85335A-0A57-4AC6-B617-2C97B4DAC908}"/>
          </ac:spMkLst>
        </pc:spChg>
        <pc:spChg chg="mod replST delST">
          <ac:chgData name="Michael Bauer" userId="59c3e81d-8f8c-46f7-acfd-fef1fb9220f5" providerId="ADAL" clId="{8FE931CD-66B5-451C-8AB8-845E6E99FCD8}" dt="2024-05-06T15:50:14.312" v="394" actId="1036"/>
          <ac:spMkLst>
            <pc:docMk/>
            <pc:sldMk cId="515246607" sldId="2147469917"/>
            <ac:spMk id="26" creationId="{280382D1-CF8A-43E1-89DB-46AADF961792}"/>
          </ac:spMkLst>
        </pc:spChg>
        <pc:spChg chg="mod replST delST">
          <ac:chgData name="Michael Bauer" userId="59c3e81d-8f8c-46f7-acfd-fef1fb9220f5" providerId="ADAL" clId="{8FE931CD-66B5-451C-8AB8-845E6E99FCD8}" dt="2024-05-06T15:50:14.312" v="394" actId="1036"/>
          <ac:spMkLst>
            <pc:docMk/>
            <pc:sldMk cId="515246607" sldId="2147469917"/>
            <ac:spMk id="27" creationId="{9E2E97BC-E31F-4033-8C25-0D4587F4C559}"/>
          </ac:spMkLst>
        </pc:spChg>
        <pc:spChg chg="mod replST delST">
          <ac:chgData name="Michael Bauer" userId="59c3e81d-8f8c-46f7-acfd-fef1fb9220f5" providerId="ADAL" clId="{8FE931CD-66B5-451C-8AB8-845E6E99FCD8}" dt="2024-05-06T15:50:14.312" v="394" actId="1036"/>
          <ac:spMkLst>
            <pc:docMk/>
            <pc:sldMk cId="515246607" sldId="2147469917"/>
            <ac:spMk id="28" creationId="{BED9EF22-F1E2-4679-A385-5DB6161D21C4}"/>
          </ac:spMkLst>
        </pc:spChg>
        <pc:spChg chg="mod replST delST">
          <ac:chgData name="Michael Bauer" userId="59c3e81d-8f8c-46f7-acfd-fef1fb9220f5" providerId="ADAL" clId="{8FE931CD-66B5-451C-8AB8-845E6E99FCD8}" dt="2024-05-06T15:50:14.312" v="394" actId="1036"/>
          <ac:spMkLst>
            <pc:docMk/>
            <pc:sldMk cId="515246607" sldId="2147469917"/>
            <ac:spMk id="29" creationId="{380DEA6A-9889-4674-ACDC-2751FC143324}"/>
          </ac:spMkLst>
        </pc:spChg>
        <pc:spChg chg="mod replST delST">
          <ac:chgData name="Michael Bauer" userId="59c3e81d-8f8c-46f7-acfd-fef1fb9220f5" providerId="ADAL" clId="{8FE931CD-66B5-451C-8AB8-845E6E99FCD8}" dt="2024-05-06T15:50:14.312" v="394" actId="1036"/>
          <ac:spMkLst>
            <pc:docMk/>
            <pc:sldMk cId="515246607" sldId="2147469917"/>
            <ac:spMk id="30" creationId="{CC97F34C-A7DA-459A-AA49-DFCC204DDAD4}"/>
          </ac:spMkLst>
        </pc:spChg>
        <pc:spChg chg="mod replST delST">
          <ac:chgData name="Michael Bauer" userId="59c3e81d-8f8c-46f7-acfd-fef1fb9220f5" providerId="ADAL" clId="{8FE931CD-66B5-451C-8AB8-845E6E99FCD8}" dt="2024-05-06T15:50:14.312" v="394" actId="1036"/>
          <ac:spMkLst>
            <pc:docMk/>
            <pc:sldMk cId="515246607" sldId="2147469917"/>
            <ac:spMk id="31" creationId="{A8AC764E-236C-4FAD-85E9-359CA8DF2E6B}"/>
          </ac:spMkLst>
        </pc:spChg>
        <pc:spChg chg="mod replST delST">
          <ac:chgData name="Michael Bauer" userId="59c3e81d-8f8c-46f7-acfd-fef1fb9220f5" providerId="ADAL" clId="{8FE931CD-66B5-451C-8AB8-845E6E99FCD8}" dt="2024-05-06T15:50:14.312" v="394" actId="1036"/>
          <ac:spMkLst>
            <pc:docMk/>
            <pc:sldMk cId="515246607" sldId="2147469917"/>
            <ac:spMk id="32" creationId="{30DC50F1-8D43-4667-A083-2CEBAF53A75F}"/>
          </ac:spMkLst>
        </pc:spChg>
        <pc:spChg chg="mod replST delST">
          <ac:chgData name="Michael Bauer" userId="59c3e81d-8f8c-46f7-acfd-fef1fb9220f5" providerId="ADAL" clId="{8FE931CD-66B5-451C-8AB8-845E6E99FCD8}" dt="2024-05-06T15:50:14.312" v="394" actId="1036"/>
          <ac:spMkLst>
            <pc:docMk/>
            <pc:sldMk cId="515246607" sldId="2147469917"/>
            <ac:spMk id="33" creationId="{AAAB276D-FAEC-4189-8C14-95BCF7AA908B}"/>
          </ac:spMkLst>
        </pc:spChg>
        <pc:spChg chg="del">
          <ac:chgData name="Michael Bauer" userId="59c3e81d-8f8c-46f7-acfd-fef1fb9220f5" providerId="ADAL" clId="{8FE931CD-66B5-451C-8AB8-845E6E99FCD8}" dt="2024-05-06T15:50:29.039" v="396" actId="478"/>
          <ac:spMkLst>
            <pc:docMk/>
            <pc:sldMk cId="515246607" sldId="2147469917"/>
            <ac:spMk id="34" creationId="{C2AF6678-FEB4-408B-A869-FF2D1B561EA1}"/>
          </ac:spMkLst>
        </pc:spChg>
        <pc:spChg chg="del">
          <ac:chgData name="Michael Bauer" userId="59c3e81d-8f8c-46f7-acfd-fef1fb9220f5" providerId="ADAL" clId="{8FE931CD-66B5-451C-8AB8-845E6E99FCD8}" dt="2024-05-06T15:50:31.325" v="397" actId="478"/>
          <ac:spMkLst>
            <pc:docMk/>
            <pc:sldMk cId="515246607" sldId="2147469917"/>
            <ac:spMk id="37" creationId="{96BA78A1-D950-4A7F-A721-415F2C51240A}"/>
          </ac:spMkLst>
        </pc:spChg>
        <pc:grpChg chg="del">
          <ac:chgData name="Michael Bauer" userId="59c3e81d-8f8c-46f7-acfd-fef1fb9220f5" providerId="ADAL" clId="{8FE931CD-66B5-451C-8AB8-845E6E99FCD8}" dt="2024-05-06T15:50:23.864" v="395" actId="478"/>
          <ac:grpSpMkLst>
            <pc:docMk/>
            <pc:sldMk cId="515246607" sldId="2147469917"/>
            <ac:grpSpMk id="38" creationId="{0255F423-2C88-46A9-B30D-8D7DCF389B67}"/>
          </ac:grpSpMkLst>
        </pc:grpChg>
        <pc:graphicFrameChg chg="mod replST delST modGraphic">
          <ac:chgData name="Michael Bauer" userId="59c3e81d-8f8c-46f7-acfd-fef1fb9220f5" providerId="ADAL" clId="{8FE931CD-66B5-451C-8AB8-845E6E99FCD8}" dt="2024-05-08T15:07:21.908" v="1933" actId="20577"/>
          <ac:graphicFrameMkLst>
            <pc:docMk/>
            <pc:sldMk cId="515246607" sldId="2147469917"/>
            <ac:graphicFrameMk id="11" creationId="{3F61B7C3-F115-4903-9FD3-DFD3B6EF467B}"/>
          </ac:graphicFrameMkLst>
        </pc:graphicFrameChg>
        <pc:graphicFrameChg chg="mod">
          <ac:chgData name="Michael Bauer" userId="59c3e81d-8f8c-46f7-acfd-fef1fb9220f5" providerId="ADAL" clId="{8FE931CD-66B5-451C-8AB8-845E6E99FCD8}" dt="2024-05-06T15:50:14.312" v="394" actId="1036"/>
          <ac:graphicFrameMkLst>
            <pc:docMk/>
            <pc:sldMk cId="515246607" sldId="2147469917"/>
            <ac:graphicFrameMk id="12" creationId="{B3F9C4EA-4569-4E4B-8A11-D5FECDC3FA0B}"/>
          </ac:graphicFrameMkLst>
        </pc:graphicFrameChg>
      </pc:sldChg>
      <pc:sldChg chg="del">
        <pc:chgData name="Michael Bauer" userId="59c3e81d-8f8c-46f7-acfd-fef1fb9220f5" providerId="ADAL" clId="{8FE931CD-66B5-451C-8AB8-845E6E99FCD8}" dt="2024-05-06T12:49:19.567" v="7" actId="2696"/>
        <pc:sldMkLst>
          <pc:docMk/>
          <pc:sldMk cId="1923155597" sldId="2147469920"/>
        </pc:sldMkLst>
      </pc:sldChg>
      <pc:sldChg chg="delSp modSp mod ord modNotesTx">
        <pc:chgData name="Michael Bauer" userId="59c3e81d-8f8c-46f7-acfd-fef1fb9220f5" providerId="ADAL" clId="{8FE931CD-66B5-451C-8AB8-845E6E99FCD8}" dt="2024-05-08T15:15:37.887" v="1983" actId="20577"/>
        <pc:sldMkLst>
          <pc:docMk/>
          <pc:sldMk cId="1783563016" sldId="2147469921"/>
        </pc:sldMkLst>
        <pc:spChg chg="mod">
          <ac:chgData name="Michael Bauer" userId="59c3e81d-8f8c-46f7-acfd-fef1fb9220f5" providerId="ADAL" clId="{8FE931CD-66B5-451C-8AB8-845E6E99FCD8}" dt="2024-05-08T09:12:41.729" v="1128" actId="14100"/>
          <ac:spMkLst>
            <pc:docMk/>
            <pc:sldMk cId="1783563016" sldId="2147469921"/>
            <ac:spMk id="2" creationId="{DE739CEE-2817-4FA1-84F8-2826C9C52F5A}"/>
          </ac:spMkLst>
        </pc:spChg>
        <pc:spChg chg="mod replST delST">
          <ac:chgData name="Michael Bauer" userId="59c3e81d-8f8c-46f7-acfd-fef1fb9220f5" providerId="ADAL" clId="{8FE931CD-66B5-451C-8AB8-845E6E99FCD8}" dt="2024-05-07T07:52:42.256" v="500" actId="1076"/>
          <ac:spMkLst>
            <pc:docMk/>
            <pc:sldMk cId="1783563016" sldId="2147469921"/>
            <ac:spMk id="3" creationId="{4D19B56A-EE8F-42C3-B1B7-9946D84F876C}"/>
          </ac:spMkLst>
        </pc:spChg>
        <pc:spChg chg="del replST delST">
          <ac:chgData name="Michael Bauer" userId="59c3e81d-8f8c-46f7-acfd-fef1fb9220f5" providerId="ADAL" clId="{8FE931CD-66B5-451C-8AB8-845E6E99FCD8}" dt="2024-05-07T07:51:24.411" v="497" actId="478"/>
          <ac:spMkLst>
            <pc:docMk/>
            <pc:sldMk cId="1783563016" sldId="2147469921"/>
            <ac:spMk id="25" creationId="{BC85335A-0A57-4AC6-B617-2C97B4DAC908}"/>
          </ac:spMkLst>
        </pc:spChg>
        <pc:spChg chg="del">
          <ac:chgData name="Michael Bauer" userId="59c3e81d-8f8c-46f7-acfd-fef1fb9220f5" providerId="ADAL" clId="{8FE931CD-66B5-451C-8AB8-845E6E99FCD8}" dt="2024-05-08T15:09:29.785" v="1959" actId="478"/>
          <ac:spMkLst>
            <pc:docMk/>
            <pc:sldMk cId="1783563016" sldId="2147469921"/>
            <ac:spMk id="34" creationId="{C2AF6678-FEB4-408B-A869-FF2D1B561EA1}"/>
          </ac:spMkLst>
        </pc:spChg>
        <pc:spChg chg="del">
          <ac:chgData name="Michael Bauer" userId="59c3e81d-8f8c-46f7-acfd-fef1fb9220f5" providerId="ADAL" clId="{8FE931CD-66B5-451C-8AB8-845E6E99FCD8}" dt="2024-05-08T15:09:32.032" v="1960" actId="478"/>
          <ac:spMkLst>
            <pc:docMk/>
            <pc:sldMk cId="1783563016" sldId="2147469921"/>
            <ac:spMk id="37" creationId="{96BA78A1-D950-4A7F-A721-415F2C51240A}"/>
          </ac:spMkLst>
        </pc:spChg>
        <pc:grpChg chg="del">
          <ac:chgData name="Michael Bauer" userId="59c3e81d-8f8c-46f7-acfd-fef1fb9220f5" providerId="ADAL" clId="{8FE931CD-66B5-451C-8AB8-845E6E99FCD8}" dt="2024-05-08T15:09:32.862" v="1961" actId="478"/>
          <ac:grpSpMkLst>
            <pc:docMk/>
            <pc:sldMk cId="1783563016" sldId="2147469921"/>
            <ac:grpSpMk id="38" creationId="{0255F423-2C88-46A9-B30D-8D7DCF389B67}"/>
          </ac:grpSpMkLst>
        </pc:grpChg>
      </pc:sldChg>
      <pc:sldChg chg="del">
        <pc:chgData name="Michael Bauer" userId="59c3e81d-8f8c-46f7-acfd-fef1fb9220f5" providerId="ADAL" clId="{8FE931CD-66B5-451C-8AB8-845E6E99FCD8}" dt="2024-05-06T15:49:02.151" v="262" actId="2696"/>
        <pc:sldMkLst>
          <pc:docMk/>
          <pc:sldMk cId="2942078936" sldId="2147469922"/>
        </pc:sldMkLst>
      </pc:sldChg>
      <pc:sldChg chg="del">
        <pc:chgData name="Michael Bauer" userId="59c3e81d-8f8c-46f7-acfd-fef1fb9220f5" providerId="ADAL" clId="{8FE931CD-66B5-451C-8AB8-845E6E99FCD8}" dt="2024-05-06T12:48:41.226" v="3" actId="2696"/>
        <pc:sldMkLst>
          <pc:docMk/>
          <pc:sldMk cId="3917508275" sldId="2147469923"/>
        </pc:sldMkLst>
      </pc:sldChg>
      <pc:sldChg chg="addSp delSp modSp del mod ord modClrScheme chgLayout">
        <pc:chgData name="Michael Bauer" userId="59c3e81d-8f8c-46f7-acfd-fef1fb9220f5" providerId="ADAL" clId="{8FE931CD-66B5-451C-8AB8-845E6E99FCD8}" dt="2024-05-08T14:38:02.505" v="1891" actId="2696"/>
        <pc:sldMkLst>
          <pc:docMk/>
          <pc:sldMk cId="2065026749" sldId="2147476244"/>
        </pc:sldMkLst>
        <pc:spChg chg="mod ord">
          <ac:chgData name="Michael Bauer" userId="59c3e81d-8f8c-46f7-acfd-fef1fb9220f5" providerId="ADAL" clId="{8FE931CD-66B5-451C-8AB8-845E6E99FCD8}" dt="2024-05-08T09:13:44.807" v="1140" actId="1076"/>
          <ac:spMkLst>
            <pc:docMk/>
            <pc:sldMk cId="2065026749" sldId="2147476244"/>
            <ac:spMk id="2" creationId="{BBC5BA38-FFB0-443A-B40E-7511398C2ED8}"/>
          </ac:spMkLst>
        </pc:spChg>
        <pc:spChg chg="mod ord">
          <ac:chgData name="Michael Bauer" userId="59c3e81d-8f8c-46f7-acfd-fef1fb9220f5" providerId="ADAL" clId="{8FE931CD-66B5-451C-8AB8-845E6E99FCD8}" dt="2024-05-08T07:11:01.760" v="526" actId="14100"/>
          <ac:spMkLst>
            <pc:docMk/>
            <pc:sldMk cId="2065026749" sldId="2147476244"/>
            <ac:spMk id="3" creationId="{2EEC6D9C-5C8A-47CC-9836-2A1462A28D4E}"/>
          </ac:spMkLst>
        </pc:spChg>
        <pc:spChg chg="mod ord replST delST">
          <ac:chgData name="Michael Bauer" userId="59c3e81d-8f8c-46f7-acfd-fef1fb9220f5" providerId="ADAL" clId="{8FE931CD-66B5-451C-8AB8-845E6E99FCD8}" dt="2024-05-08T09:16:00.924" v="1236" actId="1036"/>
          <ac:spMkLst>
            <pc:docMk/>
            <pc:sldMk cId="2065026749" sldId="2147476244"/>
            <ac:spMk id="4" creationId="{77F4F8F4-1228-47EA-4B6A-17027B001000}"/>
          </ac:spMkLst>
        </pc:spChg>
        <pc:spChg chg="mod ord replST delST">
          <ac:chgData name="Michael Bauer" userId="59c3e81d-8f8c-46f7-acfd-fef1fb9220f5" providerId="ADAL" clId="{8FE931CD-66B5-451C-8AB8-845E6E99FCD8}" dt="2024-05-08T07:16:44.457" v="584" actId="1076"/>
          <ac:spMkLst>
            <pc:docMk/>
            <pc:sldMk cId="2065026749" sldId="2147476244"/>
            <ac:spMk id="6" creationId="{221AA2F6-7111-1691-6E66-5BE25C073263}"/>
          </ac:spMkLst>
        </pc:spChg>
        <pc:spChg chg="del">
          <ac:chgData name="Michael Bauer" userId="59c3e81d-8f8c-46f7-acfd-fef1fb9220f5" providerId="ADAL" clId="{8FE931CD-66B5-451C-8AB8-845E6E99FCD8}" dt="2024-05-08T07:11:21.575" v="528" actId="478"/>
          <ac:spMkLst>
            <pc:docMk/>
            <pc:sldMk cId="2065026749" sldId="2147476244"/>
            <ac:spMk id="7" creationId="{5F359B42-6207-4EE7-BAF4-A39B206F20D8}"/>
          </ac:spMkLst>
        </pc:spChg>
        <pc:spChg chg="add mod">
          <ac:chgData name="Michael Bauer" userId="59c3e81d-8f8c-46f7-acfd-fef1fb9220f5" providerId="ADAL" clId="{8FE931CD-66B5-451C-8AB8-845E6E99FCD8}" dt="2024-05-08T09:15:57.546" v="1225" actId="1076"/>
          <ac:spMkLst>
            <pc:docMk/>
            <pc:sldMk cId="2065026749" sldId="2147476244"/>
            <ac:spMk id="8" creationId="{25C32F82-2F0E-5FBB-629C-5983209C6ADD}"/>
          </ac:spMkLst>
        </pc:spChg>
        <pc:spChg chg="mod replST delST">
          <ac:chgData name="Michael Bauer" userId="59c3e81d-8f8c-46f7-acfd-fef1fb9220f5" providerId="ADAL" clId="{8FE931CD-66B5-451C-8AB8-845E6E99FCD8}" dt="2024-05-08T09:15:34.403" v="1176" actId="1035"/>
          <ac:spMkLst>
            <pc:docMk/>
            <pc:sldMk cId="2065026749" sldId="2147476244"/>
            <ac:spMk id="9" creationId="{A682099D-E288-5D72-7708-8C9CC00EE64F}"/>
          </ac:spMkLst>
        </pc:spChg>
        <pc:picChg chg="mod">
          <ac:chgData name="Michael Bauer" userId="59c3e81d-8f8c-46f7-acfd-fef1fb9220f5" providerId="ADAL" clId="{8FE931CD-66B5-451C-8AB8-845E6E99FCD8}" dt="2024-05-08T09:15:34.403" v="1176" actId="1035"/>
          <ac:picMkLst>
            <pc:docMk/>
            <pc:sldMk cId="2065026749" sldId="2147476244"/>
            <ac:picMk id="10" creationId="{EAB3DB76-09C7-CA0F-933C-FBC8B5FE72CA}"/>
          </ac:picMkLst>
        </pc:picChg>
      </pc:sldChg>
      <pc:sldChg chg="addSp delSp modSp mod ord modClrScheme chgLayout modNotesTx">
        <pc:chgData name="Michael Bauer" userId="59c3e81d-8f8c-46f7-acfd-fef1fb9220f5" providerId="ADAL" clId="{8FE931CD-66B5-451C-8AB8-845E6E99FCD8}" dt="2024-05-08T15:14:30.654" v="1973" actId="20577"/>
        <pc:sldMkLst>
          <pc:docMk/>
          <pc:sldMk cId="788865827" sldId="2147476245"/>
        </pc:sldMkLst>
        <pc:spChg chg="del mod ord replST delST">
          <ac:chgData name="Michael Bauer" userId="59c3e81d-8f8c-46f7-acfd-fef1fb9220f5" providerId="ADAL" clId="{8FE931CD-66B5-451C-8AB8-845E6E99FCD8}" dt="2024-05-08T09:18:25.017" v="1254" actId="478"/>
          <ac:spMkLst>
            <pc:docMk/>
            <pc:sldMk cId="788865827" sldId="2147476245"/>
            <ac:spMk id="2" creationId="{BBC5BA38-FFB0-443A-B40E-7511398C2ED8}"/>
          </ac:spMkLst>
        </pc:spChg>
        <pc:spChg chg="mod ord">
          <ac:chgData name="Michael Bauer" userId="59c3e81d-8f8c-46f7-acfd-fef1fb9220f5" providerId="ADAL" clId="{8FE931CD-66B5-451C-8AB8-845E6E99FCD8}" dt="2024-05-08T11:55:40.352" v="1759" actId="20577"/>
          <ac:spMkLst>
            <pc:docMk/>
            <pc:sldMk cId="788865827" sldId="2147476245"/>
            <ac:spMk id="4" creationId="{325A9281-52EC-BF4E-7486-C1D09131C1FA}"/>
          </ac:spMkLst>
        </pc:spChg>
        <pc:spChg chg="mod ord">
          <ac:chgData name="Michael Bauer" userId="59c3e81d-8f8c-46f7-acfd-fef1fb9220f5" providerId="ADAL" clId="{8FE931CD-66B5-451C-8AB8-845E6E99FCD8}" dt="2024-05-08T07:25:03.903" v="703" actId="1076"/>
          <ac:spMkLst>
            <pc:docMk/>
            <pc:sldMk cId="788865827" sldId="2147476245"/>
            <ac:spMk id="5" creationId="{3B93A148-01AD-F37C-329B-11885FD2AE37}"/>
          </ac:spMkLst>
        </pc:spChg>
        <pc:spChg chg="add del mod">
          <ac:chgData name="Michael Bauer" userId="59c3e81d-8f8c-46f7-acfd-fef1fb9220f5" providerId="ADAL" clId="{8FE931CD-66B5-451C-8AB8-845E6E99FCD8}" dt="2024-05-08T07:19:19.596" v="607" actId="478"/>
          <ac:spMkLst>
            <pc:docMk/>
            <pc:sldMk cId="788865827" sldId="2147476245"/>
            <ac:spMk id="6" creationId="{7DBEB1CE-8CE9-AD31-85CD-255F702E1D5C}"/>
          </ac:spMkLst>
        </pc:spChg>
        <pc:spChg chg="del">
          <ac:chgData name="Michael Bauer" userId="59c3e81d-8f8c-46f7-acfd-fef1fb9220f5" providerId="ADAL" clId="{8FE931CD-66B5-451C-8AB8-845E6E99FCD8}" dt="2024-05-08T07:26:38.911" v="744" actId="478"/>
          <ac:spMkLst>
            <pc:docMk/>
            <pc:sldMk cId="788865827" sldId="2147476245"/>
            <ac:spMk id="7" creationId="{5F359B42-6207-4EE7-BAF4-A39B206F20D8}"/>
          </ac:spMkLst>
        </pc:spChg>
        <pc:spChg chg="add mod">
          <ac:chgData name="Michael Bauer" userId="59c3e81d-8f8c-46f7-acfd-fef1fb9220f5" providerId="ADAL" clId="{8FE931CD-66B5-451C-8AB8-845E6E99FCD8}" dt="2024-05-08T07:19:17.615" v="606"/>
          <ac:spMkLst>
            <pc:docMk/>
            <pc:sldMk cId="788865827" sldId="2147476245"/>
            <ac:spMk id="8" creationId="{5CE0ED34-E28F-01EE-EDE1-00C631F4C784}"/>
          </ac:spMkLst>
        </pc:spChg>
        <pc:spChg chg="add mod">
          <ac:chgData name="Michael Bauer" userId="59c3e81d-8f8c-46f7-acfd-fef1fb9220f5" providerId="ADAL" clId="{8FE931CD-66B5-451C-8AB8-845E6E99FCD8}" dt="2024-05-08T07:26:26.255" v="729" actId="20577"/>
          <ac:spMkLst>
            <pc:docMk/>
            <pc:sldMk cId="788865827" sldId="2147476245"/>
            <ac:spMk id="9" creationId="{5CA62B83-C6CE-B97C-20E2-21D656C40096}"/>
          </ac:spMkLst>
        </pc:spChg>
        <pc:spChg chg="del mod ord">
          <ac:chgData name="Michael Bauer" userId="59c3e81d-8f8c-46f7-acfd-fef1fb9220f5" providerId="ADAL" clId="{8FE931CD-66B5-451C-8AB8-845E6E99FCD8}" dt="2024-05-08T07:19:13.834" v="604" actId="478"/>
          <ac:spMkLst>
            <pc:docMk/>
            <pc:sldMk cId="788865827" sldId="2147476245"/>
            <ac:spMk id="10" creationId="{D22B431D-9AF7-1F7A-5B73-636D4F0A241A}"/>
          </ac:spMkLst>
        </pc:spChg>
        <pc:spChg chg="del replST delST">
          <ac:chgData name="Michael Bauer" userId="59c3e81d-8f8c-46f7-acfd-fef1fb9220f5" providerId="ADAL" clId="{8FE931CD-66B5-451C-8AB8-845E6E99FCD8}" dt="2024-05-08T09:18:25.017" v="1254" actId="478"/>
          <ac:spMkLst>
            <pc:docMk/>
            <pc:sldMk cId="788865827" sldId="2147476245"/>
            <ac:spMk id="12" creationId="{96A7B586-68BC-ED77-CC4A-81C9CD82890F}"/>
          </ac:spMkLst>
        </pc:spChg>
        <pc:spChg chg="add del mod">
          <ac:chgData name="Michael Bauer" userId="59c3e81d-8f8c-46f7-acfd-fef1fb9220f5" providerId="ADAL" clId="{8FE931CD-66B5-451C-8AB8-845E6E99FCD8}" dt="2024-05-08T09:18:28.292" v="1255" actId="478"/>
          <ac:spMkLst>
            <pc:docMk/>
            <pc:sldMk cId="788865827" sldId="2147476245"/>
            <ac:spMk id="13" creationId="{6DC94183-04C8-6A4E-D701-1192C43FFBD8}"/>
          </ac:spMkLst>
        </pc:spChg>
        <pc:spChg chg="del">
          <ac:chgData name="Michael Bauer" userId="59c3e81d-8f8c-46f7-acfd-fef1fb9220f5" providerId="ADAL" clId="{8FE931CD-66B5-451C-8AB8-845E6E99FCD8}" dt="2024-05-08T09:18:17.021" v="1238" actId="478"/>
          <ac:spMkLst>
            <pc:docMk/>
            <pc:sldMk cId="788865827" sldId="2147476245"/>
            <ac:spMk id="19" creationId="{FFE2F858-B106-4080-B0F3-7634B8215CF3}"/>
          </ac:spMkLst>
        </pc:spChg>
        <pc:spChg chg="del">
          <ac:chgData name="Michael Bauer" userId="59c3e81d-8f8c-46f7-acfd-fef1fb9220f5" providerId="ADAL" clId="{8FE931CD-66B5-451C-8AB8-845E6E99FCD8}" dt="2024-05-08T09:18:19.660" v="1239" actId="478"/>
          <ac:spMkLst>
            <pc:docMk/>
            <pc:sldMk cId="788865827" sldId="2147476245"/>
            <ac:spMk id="31" creationId="{6CD6F3E8-0124-47E8-B86B-60BE2441548B}"/>
          </ac:spMkLst>
        </pc:spChg>
        <pc:picChg chg="del">
          <ac:chgData name="Michael Bauer" userId="59c3e81d-8f8c-46f7-acfd-fef1fb9220f5" providerId="ADAL" clId="{8FE931CD-66B5-451C-8AB8-845E6E99FCD8}" dt="2024-05-08T09:18:25.017" v="1254" actId="478"/>
          <ac:picMkLst>
            <pc:docMk/>
            <pc:sldMk cId="788865827" sldId="2147476245"/>
            <ac:picMk id="15" creationId="{B5A18EC1-C0B4-E057-4885-B682E37DD596}"/>
          </ac:picMkLst>
        </pc:picChg>
        <pc:picChg chg="add mod">
          <ac:chgData name="Michael Bauer" userId="59c3e81d-8f8c-46f7-acfd-fef1fb9220f5" providerId="ADAL" clId="{8FE931CD-66B5-451C-8AB8-845E6E99FCD8}" dt="2024-05-08T09:18:48.830" v="1257" actId="1076"/>
          <ac:picMkLst>
            <pc:docMk/>
            <pc:sldMk cId="788865827" sldId="2147476245"/>
            <ac:picMk id="16" creationId="{C417AC4A-ABEF-6091-69C3-60ABB8FBB87A}"/>
          </ac:picMkLst>
        </pc:picChg>
      </pc:sldChg>
      <pc:sldChg chg="addSp delSp modSp mod ord modClrScheme chgLayout">
        <pc:chgData name="Michael Bauer" userId="59c3e81d-8f8c-46f7-acfd-fef1fb9220f5" providerId="ADAL" clId="{8FE931CD-66B5-451C-8AB8-845E6E99FCD8}" dt="2024-05-08T10:23:42.994" v="1640"/>
        <pc:sldMkLst>
          <pc:docMk/>
          <pc:sldMk cId="4196050619" sldId="2147476246"/>
        </pc:sldMkLst>
        <pc:spChg chg="mod ord">
          <ac:chgData name="Michael Bauer" userId="59c3e81d-8f8c-46f7-acfd-fef1fb9220f5" providerId="ADAL" clId="{8FE931CD-66B5-451C-8AB8-845E6E99FCD8}" dt="2024-05-08T09:07:07.281" v="1031" actId="1035"/>
          <ac:spMkLst>
            <pc:docMk/>
            <pc:sldMk cId="4196050619" sldId="2147476246"/>
            <ac:spMk id="2" creationId="{BBC5BA38-FFB0-443A-B40E-7511398C2ED8}"/>
          </ac:spMkLst>
        </pc:spChg>
        <pc:spChg chg="add mod">
          <ac:chgData name="Michael Bauer" userId="59c3e81d-8f8c-46f7-acfd-fef1fb9220f5" providerId="ADAL" clId="{8FE931CD-66B5-451C-8AB8-845E6E99FCD8}" dt="2024-05-08T09:04:56.009" v="954"/>
          <ac:spMkLst>
            <pc:docMk/>
            <pc:sldMk cId="4196050619" sldId="2147476246"/>
            <ac:spMk id="3" creationId="{5D0C7BCE-C110-AA67-C33A-18351558D934}"/>
          </ac:spMkLst>
        </pc:spChg>
        <pc:spChg chg="del mod ord">
          <ac:chgData name="Michael Bauer" userId="59c3e81d-8f8c-46f7-acfd-fef1fb9220f5" providerId="ADAL" clId="{8FE931CD-66B5-451C-8AB8-845E6E99FCD8}" dt="2024-05-08T09:04:46.579" v="953" actId="478"/>
          <ac:spMkLst>
            <pc:docMk/>
            <pc:sldMk cId="4196050619" sldId="2147476246"/>
            <ac:spMk id="4" creationId="{ECC33519-D562-EB2F-FB92-04AE9657C59B}"/>
          </ac:spMkLst>
        </pc:spChg>
        <pc:spChg chg="mod ord">
          <ac:chgData name="Michael Bauer" userId="59c3e81d-8f8c-46f7-acfd-fef1fb9220f5" providerId="ADAL" clId="{8FE931CD-66B5-451C-8AB8-845E6E99FCD8}" dt="2024-05-08T09:02:18.882" v="921" actId="700"/>
          <ac:spMkLst>
            <pc:docMk/>
            <pc:sldMk cId="4196050619" sldId="2147476246"/>
            <ac:spMk id="5" creationId="{33D35FDD-4557-A86F-60CD-665321ECDD76}"/>
          </ac:spMkLst>
        </pc:spChg>
        <pc:spChg chg="add mod">
          <ac:chgData name="Michael Bauer" userId="59c3e81d-8f8c-46f7-acfd-fef1fb9220f5" providerId="ADAL" clId="{8FE931CD-66B5-451C-8AB8-845E6E99FCD8}" dt="2024-05-08T09:05:28.490" v="956"/>
          <ac:spMkLst>
            <pc:docMk/>
            <pc:sldMk cId="4196050619" sldId="2147476246"/>
            <ac:spMk id="6" creationId="{C516A6A3-A065-3E2B-8BE8-4D0167E17442}"/>
          </ac:spMkLst>
        </pc:spChg>
        <pc:spChg chg="del">
          <ac:chgData name="Michael Bauer" userId="59c3e81d-8f8c-46f7-acfd-fef1fb9220f5" providerId="ADAL" clId="{8FE931CD-66B5-451C-8AB8-845E6E99FCD8}" dt="2024-05-08T09:06:54.078" v="983" actId="478"/>
          <ac:spMkLst>
            <pc:docMk/>
            <pc:sldMk cId="4196050619" sldId="2147476246"/>
            <ac:spMk id="7" creationId="{5F359B42-6207-4EE7-BAF4-A39B206F20D8}"/>
          </ac:spMkLst>
        </pc:spChg>
        <pc:spChg chg="add del mod">
          <ac:chgData name="Michael Bauer" userId="59c3e81d-8f8c-46f7-acfd-fef1fb9220f5" providerId="ADAL" clId="{8FE931CD-66B5-451C-8AB8-845E6E99FCD8}" dt="2024-05-08T09:05:38.271" v="960" actId="478"/>
          <ac:spMkLst>
            <pc:docMk/>
            <pc:sldMk cId="4196050619" sldId="2147476246"/>
            <ac:spMk id="9" creationId="{7805D99E-09B5-91E3-1D10-C4B8EEDAB92F}"/>
          </ac:spMkLst>
        </pc:spChg>
        <pc:spChg chg="add mod">
          <ac:chgData name="Michael Bauer" userId="59c3e81d-8f8c-46f7-acfd-fef1fb9220f5" providerId="ADAL" clId="{8FE931CD-66B5-451C-8AB8-845E6E99FCD8}" dt="2024-05-08T09:05:36.352" v="959"/>
          <ac:spMkLst>
            <pc:docMk/>
            <pc:sldMk cId="4196050619" sldId="2147476246"/>
            <ac:spMk id="10" creationId="{46B8CFE8-E0F7-F182-2FF0-21B5BF791996}"/>
          </ac:spMkLst>
        </pc:spChg>
        <pc:spChg chg="del mod ord">
          <ac:chgData name="Michael Bauer" userId="59c3e81d-8f8c-46f7-acfd-fef1fb9220f5" providerId="ADAL" clId="{8FE931CD-66B5-451C-8AB8-845E6E99FCD8}" dt="2024-05-08T09:05:30.300" v="957" actId="478"/>
          <ac:spMkLst>
            <pc:docMk/>
            <pc:sldMk cId="4196050619" sldId="2147476246"/>
            <ac:spMk id="11" creationId="{27EA973E-1377-8952-F067-3B9CC2036FFC}"/>
          </ac:spMkLst>
        </pc:spChg>
        <pc:spChg chg="mod replST delST">
          <ac:chgData name="Michael Bauer" userId="59c3e81d-8f8c-46f7-acfd-fef1fb9220f5" providerId="ADAL" clId="{8FE931CD-66B5-451C-8AB8-845E6E99FCD8}" dt="2024-05-08T09:07:04.270" v="1019" actId="1035"/>
          <ac:spMkLst>
            <pc:docMk/>
            <pc:sldMk cId="4196050619" sldId="2147476246"/>
            <ac:spMk id="12" creationId="{96A7B586-68BC-ED77-CC4A-81C9CD82890F}"/>
          </ac:spMkLst>
        </pc:spChg>
        <pc:spChg chg="add mod">
          <ac:chgData name="Michael Bauer" userId="59c3e81d-8f8c-46f7-acfd-fef1fb9220f5" providerId="ADAL" clId="{8FE931CD-66B5-451C-8AB8-845E6E99FCD8}" dt="2024-05-08T09:05:39.187" v="961"/>
          <ac:spMkLst>
            <pc:docMk/>
            <pc:sldMk cId="4196050619" sldId="2147476246"/>
            <ac:spMk id="13" creationId="{0FE8DC38-C13B-AB8C-62B7-0B16BCEF4CA5}"/>
          </ac:spMkLst>
        </pc:spChg>
        <pc:spChg chg="mod replST delST">
          <ac:chgData name="Michael Bauer" userId="59c3e81d-8f8c-46f7-acfd-fef1fb9220f5" providerId="ADAL" clId="{8FE931CD-66B5-451C-8AB8-845E6E99FCD8}" dt="2024-05-08T09:07:04.270" v="1019" actId="1035"/>
          <ac:spMkLst>
            <pc:docMk/>
            <pc:sldMk cId="4196050619" sldId="2147476246"/>
            <ac:spMk id="31" creationId="{6CD6F3E8-0124-47E8-B86B-60BE2441548B}"/>
          </ac:spMkLst>
        </pc:spChg>
        <pc:picChg chg="mod">
          <ac:chgData name="Michael Bauer" userId="59c3e81d-8f8c-46f7-acfd-fef1fb9220f5" providerId="ADAL" clId="{8FE931CD-66B5-451C-8AB8-845E6E99FCD8}" dt="2024-05-08T09:07:04.270" v="1019" actId="1035"/>
          <ac:picMkLst>
            <pc:docMk/>
            <pc:sldMk cId="4196050619" sldId="2147476246"/>
            <ac:picMk id="18" creationId="{DF9EE633-AF7F-AF6E-1C09-38302E6F9C25}"/>
          </ac:picMkLst>
        </pc:picChg>
        <pc:picChg chg="mod">
          <ac:chgData name="Michael Bauer" userId="59c3e81d-8f8c-46f7-acfd-fef1fb9220f5" providerId="ADAL" clId="{8FE931CD-66B5-451C-8AB8-845E6E99FCD8}" dt="2024-05-08T09:07:04.270" v="1019" actId="1035"/>
          <ac:picMkLst>
            <pc:docMk/>
            <pc:sldMk cId="4196050619" sldId="2147476246"/>
            <ac:picMk id="21" creationId="{D8102E36-EA83-60A1-45A1-6EE500A36CF7}"/>
          </ac:picMkLst>
        </pc:picChg>
      </pc:sldChg>
      <pc:sldChg chg="addSp delSp modSp mod ord modClrScheme chgLayout modNotesTx">
        <pc:chgData name="Michael Bauer" userId="59c3e81d-8f8c-46f7-acfd-fef1fb9220f5" providerId="ADAL" clId="{8FE931CD-66B5-451C-8AB8-845E6E99FCD8}" dt="2024-05-08T15:15:15.056" v="1978" actId="20577"/>
        <pc:sldMkLst>
          <pc:docMk/>
          <pc:sldMk cId="1361454132" sldId="2147476247"/>
        </pc:sldMkLst>
        <pc:spChg chg="mod ord">
          <ac:chgData name="Michael Bauer" userId="59c3e81d-8f8c-46f7-acfd-fef1fb9220f5" providerId="ADAL" clId="{8FE931CD-66B5-451C-8AB8-845E6E99FCD8}" dt="2024-05-08T07:32:50.604" v="822" actId="5793"/>
          <ac:spMkLst>
            <pc:docMk/>
            <pc:sldMk cId="1361454132" sldId="2147476247"/>
            <ac:spMk id="2" creationId="{BBC5BA38-FFB0-443A-B40E-7511398C2ED8}"/>
          </ac:spMkLst>
        </pc:spChg>
        <pc:spChg chg="del mod">
          <ac:chgData name="Michael Bauer" userId="59c3e81d-8f8c-46f7-acfd-fef1fb9220f5" providerId="ADAL" clId="{8FE931CD-66B5-451C-8AB8-845E6E99FCD8}" dt="2024-05-08T07:27:48.864" v="761" actId="478"/>
          <ac:spMkLst>
            <pc:docMk/>
            <pc:sldMk cId="1361454132" sldId="2147476247"/>
            <ac:spMk id="3" creationId="{BF4AD662-E3E9-B5C3-FAB4-E5AE1295BFE2}"/>
          </ac:spMkLst>
        </pc:spChg>
        <pc:spChg chg="del mod ord">
          <ac:chgData name="Michael Bauer" userId="59c3e81d-8f8c-46f7-acfd-fef1fb9220f5" providerId="ADAL" clId="{8FE931CD-66B5-451C-8AB8-845E6E99FCD8}" dt="2024-05-08T07:33:32.906" v="889" actId="478"/>
          <ac:spMkLst>
            <pc:docMk/>
            <pc:sldMk cId="1361454132" sldId="2147476247"/>
            <ac:spMk id="4" creationId="{E81663F8-BB3F-9901-FB74-F30B5BA534E0}"/>
          </ac:spMkLst>
        </pc:spChg>
        <pc:spChg chg="add mod ord">
          <ac:chgData name="Michael Bauer" userId="59c3e81d-8f8c-46f7-acfd-fef1fb9220f5" providerId="ADAL" clId="{8FE931CD-66B5-451C-8AB8-845E6E99FCD8}" dt="2024-05-08T07:27:55.540" v="763" actId="14100"/>
          <ac:spMkLst>
            <pc:docMk/>
            <pc:sldMk cId="1361454132" sldId="2147476247"/>
            <ac:spMk id="5" creationId="{E70F52E1-0DA6-8D50-3336-469562D0635B}"/>
          </ac:spMkLst>
        </pc:spChg>
        <pc:spChg chg="mod ord">
          <ac:chgData name="Michael Bauer" userId="59c3e81d-8f8c-46f7-acfd-fef1fb9220f5" providerId="ADAL" clId="{8FE931CD-66B5-451C-8AB8-845E6E99FCD8}" dt="2024-05-08T09:02:11.836" v="920" actId="1076"/>
          <ac:spMkLst>
            <pc:docMk/>
            <pc:sldMk cId="1361454132" sldId="2147476247"/>
            <ac:spMk id="6" creationId="{D66E18B5-4B10-4187-FCF2-C7495DA00499}"/>
          </ac:spMkLst>
        </pc:spChg>
        <pc:spChg chg="del">
          <ac:chgData name="Michael Bauer" userId="59c3e81d-8f8c-46f7-acfd-fef1fb9220f5" providerId="ADAL" clId="{8FE931CD-66B5-451C-8AB8-845E6E99FCD8}" dt="2024-05-08T07:29:55.978" v="764" actId="478"/>
          <ac:spMkLst>
            <pc:docMk/>
            <pc:sldMk cId="1361454132" sldId="2147476247"/>
            <ac:spMk id="7" creationId="{5F359B42-6207-4EE7-BAF4-A39B206F20D8}"/>
          </ac:spMkLst>
        </pc:spChg>
        <pc:spChg chg="mod">
          <ac:chgData name="Michael Bauer" userId="59c3e81d-8f8c-46f7-acfd-fef1fb9220f5" providerId="ADAL" clId="{8FE931CD-66B5-451C-8AB8-845E6E99FCD8}" dt="2024-05-08T09:01:48.831" v="908" actId="14100"/>
          <ac:spMkLst>
            <pc:docMk/>
            <pc:sldMk cId="1361454132" sldId="2147476247"/>
            <ac:spMk id="8" creationId="{AF0E4D8E-3A8E-A5DD-FF4D-6D4475133D8E}"/>
          </ac:spMkLst>
        </pc:spChg>
        <pc:spChg chg="add mod">
          <ac:chgData name="Michael Bauer" userId="59c3e81d-8f8c-46f7-acfd-fef1fb9220f5" providerId="ADAL" clId="{8FE931CD-66B5-451C-8AB8-845E6E99FCD8}" dt="2024-05-08T09:04:05" v="952" actId="1076"/>
          <ac:spMkLst>
            <pc:docMk/>
            <pc:sldMk cId="1361454132" sldId="2147476247"/>
            <ac:spMk id="11" creationId="{E7AA028E-DAF8-903B-1D26-812846830BAC}"/>
          </ac:spMkLst>
        </pc:spChg>
        <pc:spChg chg="mod replST delST">
          <ac:chgData name="Michael Bauer" userId="59c3e81d-8f8c-46f7-acfd-fef1fb9220f5" providerId="ADAL" clId="{8FE931CD-66B5-451C-8AB8-845E6E99FCD8}" dt="2024-05-08T09:01:59.627" v="918" actId="1036"/>
          <ac:spMkLst>
            <pc:docMk/>
            <pc:sldMk cId="1361454132" sldId="2147476247"/>
            <ac:spMk id="12" creationId="{96A7B586-68BC-ED77-CC4A-81C9CD82890F}"/>
          </ac:spMkLst>
        </pc:spChg>
        <pc:spChg chg="del mod replST delST">
          <ac:chgData name="Michael Bauer" userId="59c3e81d-8f8c-46f7-acfd-fef1fb9220f5" providerId="ADAL" clId="{8FE931CD-66B5-451C-8AB8-845E6E99FCD8}" dt="2024-05-08T09:02:04.761" v="919" actId="478"/>
          <ac:spMkLst>
            <pc:docMk/>
            <pc:sldMk cId="1361454132" sldId="2147476247"/>
            <ac:spMk id="31" creationId="{6CD6F3E8-0124-47E8-B86B-60BE2441548B}"/>
          </ac:spMkLst>
        </pc:spChg>
        <pc:picChg chg="mod">
          <ac:chgData name="Michael Bauer" userId="59c3e81d-8f8c-46f7-acfd-fef1fb9220f5" providerId="ADAL" clId="{8FE931CD-66B5-451C-8AB8-845E6E99FCD8}" dt="2024-05-08T09:01:59.627" v="918" actId="1036"/>
          <ac:picMkLst>
            <pc:docMk/>
            <pc:sldMk cId="1361454132" sldId="2147476247"/>
            <ac:picMk id="9" creationId="{69231E0C-E5AD-DFFF-C3B2-5430D920590E}"/>
          </ac:picMkLst>
        </pc:picChg>
        <pc:picChg chg="mod">
          <ac:chgData name="Michael Bauer" userId="59c3e81d-8f8c-46f7-acfd-fef1fb9220f5" providerId="ADAL" clId="{8FE931CD-66B5-451C-8AB8-845E6E99FCD8}" dt="2024-05-08T09:01:59.627" v="918" actId="1036"/>
          <ac:picMkLst>
            <pc:docMk/>
            <pc:sldMk cId="1361454132" sldId="2147476247"/>
            <ac:picMk id="10" creationId="{A5A219C4-5631-E911-198A-FC0CFFFB9718}"/>
          </ac:picMkLst>
        </pc:picChg>
      </pc:sldChg>
      <pc:sldChg chg="addSp delSp modSp mod ord modClrScheme chgLayout modNotesTx">
        <pc:chgData name="Michael Bauer" userId="59c3e81d-8f8c-46f7-acfd-fef1fb9220f5" providerId="ADAL" clId="{8FE931CD-66B5-451C-8AB8-845E6E99FCD8}" dt="2024-05-08T15:15:50.234" v="1985" actId="20577"/>
        <pc:sldMkLst>
          <pc:docMk/>
          <pc:sldMk cId="2471481162" sldId="2147476251"/>
        </pc:sldMkLst>
        <pc:spChg chg="mod">
          <ac:chgData name="Michael Bauer" userId="59c3e81d-8f8c-46f7-acfd-fef1fb9220f5" providerId="ADAL" clId="{8FE931CD-66B5-451C-8AB8-845E6E99FCD8}" dt="2024-05-08T14:37:28.637" v="1886" actId="403"/>
          <ac:spMkLst>
            <pc:docMk/>
            <pc:sldMk cId="2471481162" sldId="2147476251"/>
            <ac:spMk id="2" creationId="{41F25E18-A087-42CD-DE01-3A70C0E2E742}"/>
          </ac:spMkLst>
        </pc:spChg>
        <pc:spChg chg="add del mod ord">
          <ac:chgData name="Michael Bauer" userId="59c3e81d-8f8c-46f7-acfd-fef1fb9220f5" providerId="ADAL" clId="{8FE931CD-66B5-451C-8AB8-845E6E99FCD8}" dt="2024-05-08T14:31:44.480" v="1825" actId="478"/>
          <ac:spMkLst>
            <pc:docMk/>
            <pc:sldMk cId="2471481162" sldId="2147476251"/>
            <ac:spMk id="3" creationId="{92A104A2-2100-3BB1-0359-4DBEE471E2C0}"/>
          </ac:spMkLst>
        </pc:spChg>
        <pc:spChg chg="del mod ord">
          <ac:chgData name="Michael Bauer" userId="59c3e81d-8f8c-46f7-acfd-fef1fb9220f5" providerId="ADAL" clId="{8FE931CD-66B5-451C-8AB8-845E6E99FCD8}" dt="2024-05-08T14:37:44.368" v="1888" actId="478"/>
          <ac:spMkLst>
            <pc:docMk/>
            <pc:sldMk cId="2471481162" sldId="2147476251"/>
            <ac:spMk id="4" creationId="{C2F26814-4B80-E6B3-0944-C4EF25AEB9FC}"/>
          </ac:spMkLst>
        </pc:spChg>
        <pc:spChg chg="del">
          <ac:chgData name="Michael Bauer" userId="59c3e81d-8f8c-46f7-acfd-fef1fb9220f5" providerId="ADAL" clId="{8FE931CD-66B5-451C-8AB8-845E6E99FCD8}" dt="2024-05-08T14:30:22.752" v="1795" actId="478"/>
          <ac:spMkLst>
            <pc:docMk/>
            <pc:sldMk cId="2471481162" sldId="2147476251"/>
            <ac:spMk id="5" creationId="{123CB9B4-76CF-DCE8-7C78-9BC10AF82845}"/>
          </ac:spMkLst>
        </pc:spChg>
        <pc:spChg chg="mod ord">
          <ac:chgData name="Michael Bauer" userId="59c3e81d-8f8c-46f7-acfd-fef1fb9220f5" providerId="ADAL" clId="{8FE931CD-66B5-451C-8AB8-845E6E99FCD8}" dt="2024-05-08T14:30:30.529" v="1797" actId="700"/>
          <ac:spMkLst>
            <pc:docMk/>
            <pc:sldMk cId="2471481162" sldId="2147476251"/>
            <ac:spMk id="6" creationId="{C5E706C1-1D1B-B33E-8B81-BB5039497696}"/>
          </ac:spMkLst>
        </pc:spChg>
        <pc:spChg chg="del">
          <ac:chgData name="Michael Bauer" userId="59c3e81d-8f8c-46f7-acfd-fef1fb9220f5" providerId="ADAL" clId="{8FE931CD-66B5-451C-8AB8-845E6E99FCD8}" dt="2024-05-08T14:30:23.846" v="1796" actId="478"/>
          <ac:spMkLst>
            <pc:docMk/>
            <pc:sldMk cId="2471481162" sldId="2147476251"/>
            <ac:spMk id="7" creationId="{5F359B42-6207-4EE7-BAF4-A39B206F20D8}"/>
          </ac:spMkLst>
        </pc:spChg>
        <pc:spChg chg="add mod">
          <ac:chgData name="Michael Bauer" userId="59c3e81d-8f8c-46f7-acfd-fef1fb9220f5" providerId="ADAL" clId="{8FE931CD-66B5-451C-8AB8-845E6E99FCD8}" dt="2024-05-08T14:37:39.190" v="1887"/>
          <ac:spMkLst>
            <pc:docMk/>
            <pc:sldMk cId="2471481162" sldId="2147476251"/>
            <ac:spMk id="8" creationId="{A213B71B-8A18-103F-4A79-E924641E5166}"/>
          </ac:spMkLst>
        </pc:spChg>
        <pc:spChg chg="add mod">
          <ac:chgData name="Michael Bauer" userId="59c3e81d-8f8c-46f7-acfd-fef1fb9220f5" providerId="ADAL" clId="{8FE931CD-66B5-451C-8AB8-845E6E99FCD8}" dt="2024-05-08T14:37:51.480" v="1890" actId="14100"/>
          <ac:spMkLst>
            <pc:docMk/>
            <pc:sldMk cId="2471481162" sldId="2147476251"/>
            <ac:spMk id="9" creationId="{16ED3C4E-FC87-2799-3C4F-B7A4A2101F0D}"/>
          </ac:spMkLst>
        </pc:spChg>
        <pc:spChg chg="mod ord">
          <ac:chgData name="Michael Bauer" userId="59c3e81d-8f8c-46f7-acfd-fef1fb9220f5" providerId="ADAL" clId="{8FE931CD-66B5-451C-8AB8-845E6E99FCD8}" dt="2024-05-08T14:31:37.496" v="1824" actId="242"/>
          <ac:spMkLst>
            <pc:docMk/>
            <pc:sldMk cId="2471481162" sldId="2147476251"/>
            <ac:spMk id="11" creationId="{6C36412C-6F49-93C2-FC18-D2904ED12950}"/>
          </ac:spMkLst>
        </pc:spChg>
      </pc:sldChg>
      <pc:sldChg chg="modSp new del mod">
        <pc:chgData name="Michael Bauer" userId="59c3e81d-8f8c-46f7-acfd-fef1fb9220f5" providerId="ADAL" clId="{8FE931CD-66B5-451C-8AB8-845E6E99FCD8}" dt="2024-05-08T14:38:02.505" v="1891" actId="2696"/>
        <pc:sldMkLst>
          <pc:docMk/>
          <pc:sldMk cId="1615513903" sldId="2147476252"/>
        </pc:sldMkLst>
        <pc:spChg chg="mod">
          <ac:chgData name="Michael Bauer" userId="59c3e81d-8f8c-46f7-acfd-fef1fb9220f5" providerId="ADAL" clId="{8FE931CD-66B5-451C-8AB8-845E6E99FCD8}" dt="2024-05-06T15:55:03.026" v="448" actId="1076"/>
          <ac:spMkLst>
            <pc:docMk/>
            <pc:sldMk cId="1615513903" sldId="2147476252"/>
            <ac:spMk id="2" creationId="{E5EEC4FF-1DD7-543D-6850-A642784EFADB}"/>
          </ac:spMkLst>
        </pc:spChg>
        <pc:spChg chg="mod">
          <ac:chgData name="Michael Bauer" userId="59c3e81d-8f8c-46f7-acfd-fef1fb9220f5" providerId="ADAL" clId="{8FE931CD-66B5-451C-8AB8-845E6E99FCD8}" dt="2024-05-06T15:57:34.962" v="482" actId="404"/>
          <ac:spMkLst>
            <pc:docMk/>
            <pc:sldMk cId="1615513903" sldId="2147476252"/>
            <ac:spMk id="3" creationId="{B706140D-54A3-328A-CC3E-42F255DEF5FF}"/>
          </ac:spMkLst>
        </pc:spChg>
        <pc:spChg chg="mod">
          <ac:chgData name="Michael Bauer" userId="59c3e81d-8f8c-46f7-acfd-fef1fb9220f5" providerId="ADAL" clId="{8FE931CD-66B5-451C-8AB8-845E6E99FCD8}" dt="2024-05-08T10:25:25.818" v="1674" actId="403"/>
          <ac:spMkLst>
            <pc:docMk/>
            <pc:sldMk cId="1615513903" sldId="2147476252"/>
            <ac:spMk id="4" creationId="{4D120481-3359-E794-0EB8-88E017BC3C35}"/>
          </ac:spMkLst>
        </pc:spChg>
      </pc:sldChg>
      <pc:sldChg chg="addSp delSp modSp add mod ord">
        <pc:chgData name="Michael Bauer" userId="59c3e81d-8f8c-46f7-acfd-fef1fb9220f5" providerId="ADAL" clId="{8FE931CD-66B5-451C-8AB8-845E6E99FCD8}" dt="2024-05-08T15:07:44.544" v="1943" actId="1035"/>
        <pc:sldMkLst>
          <pc:docMk/>
          <pc:sldMk cId="594250820" sldId="2147476253"/>
        </pc:sldMkLst>
        <pc:spChg chg="add del replST delST">
          <ac:chgData name="Michael Bauer" userId="59c3e81d-8f8c-46f7-acfd-fef1fb9220f5" providerId="ADAL" clId="{8FE931CD-66B5-451C-8AB8-845E6E99FCD8}" dt="2024-05-08T09:10:03.398" v="1061" actId="478"/>
          <ac:spMkLst>
            <pc:docMk/>
            <pc:sldMk cId="594250820" sldId="2147476253"/>
            <ac:spMk id="2" creationId="{A36DFDCF-2417-F5E0-9625-5E0BB34A8E77}"/>
          </ac:spMkLst>
        </pc:spChg>
        <pc:spChg chg="add del replST">
          <ac:chgData name="Michael Bauer" userId="59c3e81d-8f8c-46f7-acfd-fef1fb9220f5" providerId="ADAL" clId="{8FE931CD-66B5-451C-8AB8-845E6E99FCD8}" dt="2024-05-08T09:10:03.398" v="1061" actId="478"/>
          <ac:spMkLst>
            <pc:docMk/>
            <pc:sldMk cId="594250820" sldId="2147476253"/>
            <ac:spMk id="4" creationId="{80BB59E5-3389-5D9D-20CA-CD88CF04F0ED}"/>
          </ac:spMkLst>
        </pc:spChg>
        <pc:spChg chg="add del replST">
          <ac:chgData name="Michael Bauer" userId="59c3e81d-8f8c-46f7-acfd-fef1fb9220f5" providerId="ADAL" clId="{8FE931CD-66B5-451C-8AB8-845E6E99FCD8}" dt="2024-05-08T09:10:03.398" v="1061" actId="478"/>
          <ac:spMkLst>
            <pc:docMk/>
            <pc:sldMk cId="594250820" sldId="2147476253"/>
            <ac:spMk id="6" creationId="{8A65CE79-C796-4F57-3F8C-D76A6A8B43F7}"/>
          </ac:spMkLst>
        </pc:spChg>
        <pc:spChg chg="add del mod">
          <ac:chgData name="Michael Bauer" userId="59c3e81d-8f8c-46f7-acfd-fef1fb9220f5" providerId="ADAL" clId="{8FE931CD-66B5-451C-8AB8-845E6E99FCD8}" dt="2024-05-08T09:09:57.078" v="1060" actId="478"/>
          <ac:spMkLst>
            <pc:docMk/>
            <pc:sldMk cId="594250820" sldId="2147476253"/>
            <ac:spMk id="7" creationId="{F3B00671-BD14-6C28-A238-C1D351A7A5F7}"/>
          </ac:spMkLst>
        </pc:spChg>
        <pc:spChg chg="add del replST">
          <ac:chgData name="Michael Bauer" userId="59c3e81d-8f8c-46f7-acfd-fef1fb9220f5" providerId="ADAL" clId="{8FE931CD-66B5-451C-8AB8-845E6E99FCD8}" dt="2024-05-08T09:10:03.398" v="1061" actId="478"/>
          <ac:spMkLst>
            <pc:docMk/>
            <pc:sldMk cId="594250820" sldId="2147476253"/>
            <ac:spMk id="9" creationId="{FCBA71F1-40C2-1488-7587-92F9692A8306}"/>
          </ac:spMkLst>
        </pc:spChg>
        <pc:spChg chg="add del mod">
          <ac:chgData name="Michael Bauer" userId="59c3e81d-8f8c-46f7-acfd-fef1fb9220f5" providerId="ADAL" clId="{8FE931CD-66B5-451C-8AB8-845E6E99FCD8}" dt="2024-05-08T09:10:05.679" v="1062" actId="478"/>
          <ac:spMkLst>
            <pc:docMk/>
            <pc:sldMk cId="594250820" sldId="2147476253"/>
            <ac:spMk id="11" creationId="{F2E3CF6D-8153-1277-1E36-2021E36BF329}"/>
          </ac:spMkLst>
        </pc:spChg>
        <pc:spChg chg="add del">
          <ac:chgData name="Michael Bauer" userId="59c3e81d-8f8c-46f7-acfd-fef1fb9220f5" providerId="ADAL" clId="{8FE931CD-66B5-451C-8AB8-845E6E99FCD8}" dt="2024-05-08T11:55:19.334" v="1756" actId="22"/>
          <ac:spMkLst>
            <pc:docMk/>
            <pc:sldMk cId="594250820" sldId="2147476253"/>
            <ac:spMk id="15" creationId="{2A7BF861-FD9E-4EB9-3B6F-959313F3ABE0}"/>
          </ac:spMkLst>
        </pc:spChg>
        <pc:spChg chg="add mod">
          <ac:chgData name="Michael Bauer" userId="59c3e81d-8f8c-46f7-acfd-fef1fb9220f5" providerId="ADAL" clId="{8FE931CD-66B5-451C-8AB8-845E6E99FCD8}" dt="2024-05-08T11:55:28.205" v="1758" actId="1076"/>
          <ac:spMkLst>
            <pc:docMk/>
            <pc:sldMk cId="594250820" sldId="2147476253"/>
            <ac:spMk id="17" creationId="{745921AF-9187-B560-17A9-6D98511C3E8E}"/>
          </ac:spMkLst>
        </pc:spChg>
        <pc:spChg chg="add del replST delST">
          <ac:chgData name="Michael Bauer" userId="59c3e81d-8f8c-46f7-acfd-fef1fb9220f5" providerId="ADAL" clId="{8FE931CD-66B5-451C-8AB8-845E6E99FCD8}" dt="2024-05-08T09:10:03.398" v="1061" actId="478"/>
          <ac:spMkLst>
            <pc:docMk/>
            <pc:sldMk cId="594250820" sldId="2147476253"/>
            <ac:spMk id="19" creationId="{FEBC4F54-840F-6301-F466-585EA692E6D0}"/>
          </ac:spMkLst>
        </pc:spChg>
        <pc:spChg chg="add del replST delST">
          <ac:chgData name="Michael Bauer" userId="59c3e81d-8f8c-46f7-acfd-fef1fb9220f5" providerId="ADAL" clId="{8FE931CD-66B5-451C-8AB8-845E6E99FCD8}" dt="2024-05-08T09:10:03.398" v="1061" actId="478"/>
          <ac:spMkLst>
            <pc:docMk/>
            <pc:sldMk cId="594250820" sldId="2147476253"/>
            <ac:spMk id="31" creationId="{C7A6F84D-8615-FC87-50F5-5662196210BB}"/>
          </ac:spMkLst>
        </pc:spChg>
        <pc:picChg chg="add del">
          <ac:chgData name="Michael Bauer" userId="59c3e81d-8f8c-46f7-acfd-fef1fb9220f5" providerId="ADAL" clId="{8FE931CD-66B5-451C-8AB8-845E6E99FCD8}" dt="2024-05-08T09:10:03.398" v="1061" actId="478"/>
          <ac:picMkLst>
            <pc:docMk/>
            <pc:sldMk cId="594250820" sldId="2147476253"/>
            <ac:picMk id="10" creationId="{82CB24CD-CDB7-B5C5-52CC-E57875560BFA}"/>
          </ac:picMkLst>
        </pc:picChg>
        <pc:picChg chg="add mod">
          <ac:chgData name="Michael Bauer" userId="59c3e81d-8f8c-46f7-acfd-fef1fb9220f5" providerId="ADAL" clId="{8FE931CD-66B5-451C-8AB8-845E6E99FCD8}" dt="2024-05-08T15:07:44.544" v="1943" actId="1035"/>
          <ac:picMkLst>
            <pc:docMk/>
            <pc:sldMk cId="594250820" sldId="2147476253"/>
            <ac:picMk id="13" creationId="{FF59C57B-01F4-4CC2-113E-1D7B677B6471}"/>
          </ac:picMkLst>
        </pc:picChg>
      </pc:sldChg>
      <pc:sldChg chg="add ord modNotesTx">
        <pc:chgData name="Michael Bauer" userId="59c3e81d-8f8c-46f7-acfd-fef1fb9220f5" providerId="ADAL" clId="{8FE931CD-66B5-451C-8AB8-845E6E99FCD8}" dt="2024-05-08T15:14:52.937" v="1975" actId="20577"/>
        <pc:sldMkLst>
          <pc:docMk/>
          <pc:sldMk cId="2518584562" sldId="2147476254"/>
        </pc:sldMkLst>
      </pc:sldChg>
      <pc:sldChg chg="addSp delSp modSp add mod ord modNotesTx">
        <pc:chgData name="Michael Bauer" userId="59c3e81d-8f8c-46f7-acfd-fef1fb9220f5" providerId="ADAL" clId="{8FE931CD-66B5-451C-8AB8-845E6E99FCD8}" dt="2024-05-08T15:15:20.868" v="1979" actId="20577"/>
        <pc:sldMkLst>
          <pc:docMk/>
          <pc:sldMk cId="3078018423" sldId="2147476255"/>
        </pc:sldMkLst>
        <pc:spChg chg="add mod">
          <ac:chgData name="Michael Bauer" userId="59c3e81d-8f8c-46f7-acfd-fef1fb9220f5" providerId="ADAL" clId="{8FE931CD-66B5-451C-8AB8-845E6E99FCD8}" dt="2024-05-08T09:28:22.464" v="1433" actId="20577"/>
          <ac:spMkLst>
            <pc:docMk/>
            <pc:sldMk cId="3078018423" sldId="2147476255"/>
            <ac:spMk id="6" creationId="{274FB33D-9E12-4006-FFA6-6070F81A8997}"/>
          </ac:spMkLst>
        </pc:spChg>
        <pc:spChg chg="mod">
          <ac:chgData name="Michael Bauer" userId="59c3e81d-8f8c-46f7-acfd-fef1fb9220f5" providerId="ADAL" clId="{8FE931CD-66B5-451C-8AB8-845E6E99FCD8}" dt="2024-05-08T09:28:29.382" v="1434" actId="20577"/>
          <ac:spMkLst>
            <pc:docMk/>
            <pc:sldMk cId="3078018423" sldId="2147476255"/>
            <ac:spMk id="23" creationId="{E1FC56DB-9C53-B332-772C-0AE7003C0B2D}"/>
          </ac:spMkLst>
        </pc:spChg>
        <pc:spChg chg="mod">
          <ac:chgData name="Michael Bauer" userId="59c3e81d-8f8c-46f7-acfd-fef1fb9220f5" providerId="ADAL" clId="{8FE931CD-66B5-451C-8AB8-845E6E99FCD8}" dt="2024-05-08T11:23:11.704" v="1680" actId="20577"/>
          <ac:spMkLst>
            <pc:docMk/>
            <pc:sldMk cId="3078018423" sldId="2147476255"/>
            <ac:spMk id="31" creationId="{B16C0288-AD32-EAC2-186D-A431F47339AF}"/>
          </ac:spMkLst>
        </pc:spChg>
        <pc:grpChg chg="del">
          <ac:chgData name="Michael Bauer" userId="59c3e81d-8f8c-46f7-acfd-fef1fb9220f5" providerId="ADAL" clId="{8FE931CD-66B5-451C-8AB8-845E6E99FCD8}" dt="2024-05-08T09:24:29.103" v="1259" actId="478"/>
          <ac:grpSpMkLst>
            <pc:docMk/>
            <pc:sldMk cId="3078018423" sldId="2147476255"/>
            <ac:grpSpMk id="2" creationId="{51C5DF5B-CEA9-1D1E-FA03-BF5C6EED7248}"/>
          </ac:grpSpMkLst>
        </pc:grpChg>
        <pc:picChg chg="add mod">
          <ac:chgData name="Michael Bauer" userId="59c3e81d-8f8c-46f7-acfd-fef1fb9220f5" providerId="ADAL" clId="{8FE931CD-66B5-451C-8AB8-845E6E99FCD8}" dt="2024-05-08T09:27:42.603" v="1416" actId="1035"/>
          <ac:picMkLst>
            <pc:docMk/>
            <pc:sldMk cId="3078018423" sldId="2147476255"/>
            <ac:picMk id="4" creationId="{2ADE7833-EF49-030B-484C-3E714A0DA682}"/>
          </ac:picMkLst>
        </pc:picChg>
      </pc:sldChg>
      <pc:sldChg chg="addSp delSp modSp add mod ord modNotesTx">
        <pc:chgData name="Michael Bauer" userId="59c3e81d-8f8c-46f7-acfd-fef1fb9220f5" providerId="ADAL" clId="{8FE931CD-66B5-451C-8AB8-845E6E99FCD8}" dt="2024-05-08T15:15:00.186" v="1976" actId="20577"/>
        <pc:sldMkLst>
          <pc:docMk/>
          <pc:sldMk cId="1398523371" sldId="2147476256"/>
        </pc:sldMkLst>
        <pc:spChg chg="mod replST delST">
          <ac:chgData name="Michael Bauer" userId="59c3e81d-8f8c-46f7-acfd-fef1fb9220f5" providerId="ADAL" clId="{8FE931CD-66B5-451C-8AB8-845E6E99FCD8}" dt="2024-05-08T15:08:28.009" v="1948" actId="14100"/>
          <ac:spMkLst>
            <pc:docMk/>
            <pc:sldMk cId="1398523371" sldId="2147476256"/>
            <ac:spMk id="6" creationId="{10E53BC0-8BB2-1175-5FEF-CD4F39C89248}"/>
          </ac:spMkLst>
        </pc:spChg>
        <pc:spChg chg="mod">
          <ac:chgData name="Michael Bauer" userId="59c3e81d-8f8c-46f7-acfd-fef1fb9220f5" providerId="ADAL" clId="{8FE931CD-66B5-451C-8AB8-845E6E99FCD8}" dt="2024-05-08T14:27:54.710" v="1780" actId="20577"/>
          <ac:spMkLst>
            <pc:docMk/>
            <pc:sldMk cId="1398523371" sldId="2147476256"/>
            <ac:spMk id="31" creationId="{97001DE4-0BEB-0B6A-F5E6-323851116298}"/>
          </ac:spMkLst>
        </pc:spChg>
        <pc:picChg chg="add mod modCrop">
          <ac:chgData name="Michael Bauer" userId="59c3e81d-8f8c-46f7-acfd-fef1fb9220f5" providerId="ADAL" clId="{8FE931CD-66B5-451C-8AB8-845E6E99FCD8}" dt="2024-05-08T15:08:29.820" v="1958" actId="1038"/>
          <ac:picMkLst>
            <pc:docMk/>
            <pc:sldMk cId="1398523371" sldId="2147476256"/>
            <ac:picMk id="3" creationId="{9405D0A5-2DCB-13B5-1017-73604FC98788}"/>
          </ac:picMkLst>
        </pc:picChg>
        <pc:picChg chg="del">
          <ac:chgData name="Michael Bauer" userId="59c3e81d-8f8c-46f7-acfd-fef1fb9220f5" providerId="ADAL" clId="{8FE931CD-66B5-451C-8AB8-845E6E99FCD8}" dt="2024-05-08T10:10:53.543" v="1436" actId="478"/>
          <ac:picMkLst>
            <pc:docMk/>
            <pc:sldMk cId="1398523371" sldId="2147476256"/>
            <ac:picMk id="4" creationId="{426EA9F1-4E47-E150-3378-FB7B3AFE8FB4}"/>
          </ac:picMkLst>
        </pc:picChg>
      </pc:sldChg>
      <pc:sldChg chg="addSp delSp modSp add mod ord modNotesTx">
        <pc:chgData name="Michael Bauer" userId="59c3e81d-8f8c-46f7-acfd-fef1fb9220f5" providerId="ADAL" clId="{8FE931CD-66B5-451C-8AB8-845E6E99FCD8}" dt="2024-05-08T15:15:27.970" v="1981" actId="20577"/>
        <pc:sldMkLst>
          <pc:docMk/>
          <pc:sldMk cId="4057213281" sldId="2147476257"/>
        </pc:sldMkLst>
        <pc:spChg chg="mod">
          <ac:chgData name="Michael Bauer" userId="59c3e81d-8f8c-46f7-acfd-fef1fb9220f5" providerId="ADAL" clId="{8FE931CD-66B5-451C-8AB8-845E6E99FCD8}" dt="2024-05-08T10:19:01.163" v="1608" actId="1076"/>
          <ac:spMkLst>
            <pc:docMk/>
            <pc:sldMk cId="4057213281" sldId="2147476257"/>
            <ac:spMk id="6" creationId="{A7525C8F-C0BE-AD67-E98F-20B24A1F8CD8}"/>
          </ac:spMkLst>
        </pc:spChg>
        <pc:spChg chg="mod">
          <ac:chgData name="Michael Bauer" userId="59c3e81d-8f8c-46f7-acfd-fef1fb9220f5" providerId="ADAL" clId="{8FE931CD-66B5-451C-8AB8-845E6E99FCD8}" dt="2024-05-08T14:28:11.084" v="1782" actId="14100"/>
          <ac:spMkLst>
            <pc:docMk/>
            <pc:sldMk cId="4057213281" sldId="2147476257"/>
            <ac:spMk id="31" creationId="{ED71501D-EF17-65E8-4AFA-61FDCDC858AF}"/>
          </ac:spMkLst>
        </pc:spChg>
        <pc:picChg chg="del">
          <ac:chgData name="Michael Bauer" userId="59c3e81d-8f8c-46f7-acfd-fef1fb9220f5" providerId="ADAL" clId="{8FE931CD-66B5-451C-8AB8-845E6E99FCD8}" dt="2024-05-08T10:13:01.983" v="1490" actId="478"/>
          <ac:picMkLst>
            <pc:docMk/>
            <pc:sldMk cId="4057213281" sldId="2147476257"/>
            <ac:picMk id="3" creationId="{2C91BE8C-408D-6CB5-5C5C-2D2105CFB8D9}"/>
          </ac:picMkLst>
        </pc:picChg>
        <pc:picChg chg="add mod">
          <ac:chgData name="Michael Bauer" userId="59c3e81d-8f8c-46f7-acfd-fef1fb9220f5" providerId="ADAL" clId="{8FE931CD-66B5-451C-8AB8-845E6E99FCD8}" dt="2024-05-08T10:14:52.608" v="1518" actId="1076"/>
          <ac:picMkLst>
            <pc:docMk/>
            <pc:sldMk cId="4057213281" sldId="2147476257"/>
            <ac:picMk id="4" creationId="{E1C585BE-1177-2BD8-5BCA-487D3F5E5854}"/>
          </ac:picMkLst>
        </pc:picChg>
      </pc:sldChg>
      <pc:sldChg chg="addSp delSp modSp add mod ord modNotesTx">
        <pc:chgData name="Michael Bauer" userId="59c3e81d-8f8c-46f7-acfd-fef1fb9220f5" providerId="ADAL" clId="{8FE931CD-66B5-451C-8AB8-845E6E99FCD8}" dt="2024-05-08T15:15:24.901" v="1980" actId="20577"/>
        <pc:sldMkLst>
          <pc:docMk/>
          <pc:sldMk cId="368015195" sldId="2147476258"/>
        </pc:sldMkLst>
        <pc:spChg chg="mod">
          <ac:chgData name="Michael Bauer" userId="59c3e81d-8f8c-46f7-acfd-fef1fb9220f5" providerId="ADAL" clId="{8FE931CD-66B5-451C-8AB8-845E6E99FCD8}" dt="2024-05-08T10:19:11.155" v="1609" actId="1076"/>
          <ac:spMkLst>
            <pc:docMk/>
            <pc:sldMk cId="368015195" sldId="2147476258"/>
            <ac:spMk id="6" creationId="{CA9588BF-0D67-9E31-E096-198F0B00F22C}"/>
          </ac:spMkLst>
        </pc:spChg>
        <pc:spChg chg="mod">
          <ac:chgData name="Michael Bauer" userId="59c3e81d-8f8c-46f7-acfd-fef1fb9220f5" providerId="ADAL" clId="{8FE931CD-66B5-451C-8AB8-845E6E99FCD8}" dt="2024-05-08T14:28:25.290" v="1785" actId="14100"/>
          <ac:spMkLst>
            <pc:docMk/>
            <pc:sldMk cId="368015195" sldId="2147476258"/>
            <ac:spMk id="31" creationId="{AC764F7D-529C-311D-DBA6-BF182EA1952A}"/>
          </ac:spMkLst>
        </pc:spChg>
        <pc:picChg chg="add mod">
          <ac:chgData name="Michael Bauer" userId="59c3e81d-8f8c-46f7-acfd-fef1fb9220f5" providerId="ADAL" clId="{8FE931CD-66B5-451C-8AB8-845E6E99FCD8}" dt="2024-05-08T10:18:09.936" v="1574" actId="1036"/>
          <ac:picMkLst>
            <pc:docMk/>
            <pc:sldMk cId="368015195" sldId="2147476258"/>
            <ac:picMk id="3" creationId="{3A5D5731-A982-4FCD-8337-0E61AFFBF222}"/>
          </ac:picMkLst>
        </pc:picChg>
        <pc:picChg chg="del">
          <ac:chgData name="Michael Bauer" userId="59c3e81d-8f8c-46f7-acfd-fef1fb9220f5" providerId="ADAL" clId="{8FE931CD-66B5-451C-8AB8-845E6E99FCD8}" dt="2024-05-08T10:14:27.136" v="1510" actId="478"/>
          <ac:picMkLst>
            <pc:docMk/>
            <pc:sldMk cId="368015195" sldId="2147476258"/>
            <ac:picMk id="4" creationId="{1BA6D014-F496-E8D6-0766-E2266E8684E2}"/>
          </ac:picMkLst>
        </pc:picChg>
      </pc:sldChg>
      <pc:sldChg chg="addSp delSp modSp add mod ord modNotesTx">
        <pc:chgData name="Michael Bauer" userId="59c3e81d-8f8c-46f7-acfd-fef1fb9220f5" providerId="ADAL" clId="{8FE931CD-66B5-451C-8AB8-845E6E99FCD8}" dt="2024-05-08T15:15:34.293" v="1982" actId="20577"/>
        <pc:sldMkLst>
          <pc:docMk/>
          <pc:sldMk cId="3224473945" sldId="2147476259"/>
        </pc:sldMkLst>
        <pc:spChg chg="del">
          <ac:chgData name="Michael Bauer" userId="59c3e81d-8f8c-46f7-acfd-fef1fb9220f5" providerId="ADAL" clId="{8FE931CD-66B5-451C-8AB8-845E6E99FCD8}" dt="2024-05-08T10:20:16.686" v="1622" actId="478"/>
          <ac:spMkLst>
            <pc:docMk/>
            <pc:sldMk cId="3224473945" sldId="2147476259"/>
            <ac:spMk id="6" creationId="{66C327EB-D4F4-748A-6DDD-94470C873A28}"/>
          </ac:spMkLst>
        </pc:spChg>
        <pc:spChg chg="mod">
          <ac:chgData name="Michael Bauer" userId="59c3e81d-8f8c-46f7-acfd-fef1fb9220f5" providerId="ADAL" clId="{8FE931CD-66B5-451C-8AB8-845E6E99FCD8}" dt="2024-05-08T10:20:54.406" v="1633" actId="20577"/>
          <ac:spMkLst>
            <pc:docMk/>
            <pc:sldMk cId="3224473945" sldId="2147476259"/>
            <ac:spMk id="31" creationId="{276DFE8F-71E6-4F38-ECFC-54DD2F1888DD}"/>
          </ac:spMkLst>
        </pc:spChg>
        <pc:picChg chg="del">
          <ac:chgData name="Michael Bauer" userId="59c3e81d-8f8c-46f7-acfd-fef1fb9220f5" providerId="ADAL" clId="{8FE931CD-66B5-451C-8AB8-845E6E99FCD8}" dt="2024-05-08T10:20:13.016" v="1621" actId="478"/>
          <ac:picMkLst>
            <pc:docMk/>
            <pc:sldMk cId="3224473945" sldId="2147476259"/>
            <ac:picMk id="3" creationId="{7E263CAD-B424-C18A-B3B3-203808E2B1A5}"/>
          </ac:picMkLst>
        </pc:picChg>
        <pc:picChg chg="add mod">
          <ac:chgData name="Michael Bauer" userId="59c3e81d-8f8c-46f7-acfd-fef1fb9220f5" providerId="ADAL" clId="{8FE931CD-66B5-451C-8AB8-845E6E99FCD8}" dt="2024-05-08T10:20:38.868" v="1626" actId="12788"/>
          <ac:picMkLst>
            <pc:docMk/>
            <pc:sldMk cId="3224473945" sldId="2147476259"/>
            <ac:picMk id="4" creationId="{61047D4F-9FC6-CCEC-90D3-42380BAEF067}"/>
          </ac:picMkLst>
        </pc:picChg>
      </pc:sldChg>
      <pc:sldMasterChg chg="modSldLayout">
        <pc:chgData name="Michael Bauer" userId="59c3e81d-8f8c-46f7-acfd-fef1fb9220f5" providerId="ADAL" clId="{8FE931CD-66B5-451C-8AB8-845E6E99FCD8}" dt="2024-05-06T15:10:18.094" v="36" actId="1076"/>
        <pc:sldMasterMkLst>
          <pc:docMk/>
          <pc:sldMasterMk cId="1269562786" sldId="2147484115"/>
        </pc:sldMasterMkLst>
        <pc:sldLayoutChg chg="addSp modSp mod">
          <pc:chgData name="Michael Bauer" userId="59c3e81d-8f8c-46f7-acfd-fef1fb9220f5" providerId="ADAL" clId="{8FE931CD-66B5-451C-8AB8-845E6E99FCD8}" dt="2024-05-06T15:09:49.770" v="30" actId="1076"/>
          <pc:sldLayoutMkLst>
            <pc:docMk/>
            <pc:sldMasterMk cId="1269562786" sldId="2147484115"/>
            <pc:sldLayoutMk cId="3717945638" sldId="2147484123"/>
          </pc:sldLayoutMkLst>
          <pc:picChg chg="add mod">
            <ac:chgData name="Michael Bauer" userId="59c3e81d-8f8c-46f7-acfd-fef1fb9220f5" providerId="ADAL" clId="{8FE931CD-66B5-451C-8AB8-845E6E99FCD8}" dt="2024-05-06T15:09:49.770" v="30" actId="1076"/>
            <ac:picMkLst>
              <pc:docMk/>
              <pc:sldMasterMk cId="1269562786" sldId="2147484115"/>
              <pc:sldLayoutMk cId="3717945638" sldId="2147484123"/>
              <ac:picMk id="2" creationId="{DEE8D6DB-4AD2-83F7-C0B9-A733241AE163}"/>
            </ac:picMkLst>
          </pc:picChg>
        </pc:sldLayoutChg>
        <pc:sldLayoutChg chg="addSp modSp">
          <pc:chgData name="Michael Bauer" userId="59c3e81d-8f8c-46f7-acfd-fef1fb9220f5" providerId="ADAL" clId="{8FE931CD-66B5-451C-8AB8-845E6E99FCD8}" dt="2024-05-06T15:09:57.276" v="31"/>
          <pc:sldLayoutMkLst>
            <pc:docMk/>
            <pc:sldMasterMk cId="1269562786" sldId="2147484115"/>
            <pc:sldLayoutMk cId="1424933932" sldId="2147484126"/>
          </pc:sldLayoutMkLst>
          <pc:picChg chg="add mod">
            <ac:chgData name="Michael Bauer" userId="59c3e81d-8f8c-46f7-acfd-fef1fb9220f5" providerId="ADAL" clId="{8FE931CD-66B5-451C-8AB8-845E6E99FCD8}" dt="2024-05-06T15:09:57.276" v="31"/>
            <ac:picMkLst>
              <pc:docMk/>
              <pc:sldMasterMk cId="1269562786" sldId="2147484115"/>
              <pc:sldLayoutMk cId="1424933932" sldId="2147484126"/>
              <ac:picMk id="3" creationId="{9AAB346E-447C-C759-3325-94368E8403DC}"/>
            </ac:picMkLst>
          </pc:picChg>
        </pc:sldLayoutChg>
        <pc:sldLayoutChg chg="addSp modSp">
          <pc:chgData name="Michael Bauer" userId="59c3e81d-8f8c-46f7-acfd-fef1fb9220f5" providerId="ADAL" clId="{8FE931CD-66B5-451C-8AB8-845E6E99FCD8}" dt="2024-05-06T15:10:00.016" v="32"/>
          <pc:sldLayoutMkLst>
            <pc:docMk/>
            <pc:sldMasterMk cId="1269562786" sldId="2147484115"/>
            <pc:sldLayoutMk cId="445796322" sldId="2147484127"/>
          </pc:sldLayoutMkLst>
          <pc:picChg chg="add mod">
            <ac:chgData name="Michael Bauer" userId="59c3e81d-8f8c-46f7-acfd-fef1fb9220f5" providerId="ADAL" clId="{8FE931CD-66B5-451C-8AB8-845E6E99FCD8}" dt="2024-05-06T15:10:00.016" v="32"/>
            <ac:picMkLst>
              <pc:docMk/>
              <pc:sldMasterMk cId="1269562786" sldId="2147484115"/>
              <pc:sldLayoutMk cId="445796322" sldId="2147484127"/>
              <ac:picMk id="4" creationId="{02FED75F-C374-BBFA-A45B-31382D7C08D5}"/>
            </ac:picMkLst>
          </pc:picChg>
        </pc:sldLayoutChg>
        <pc:sldLayoutChg chg="addSp modSp">
          <pc:chgData name="Michael Bauer" userId="59c3e81d-8f8c-46f7-acfd-fef1fb9220f5" providerId="ADAL" clId="{8FE931CD-66B5-451C-8AB8-845E6E99FCD8}" dt="2024-05-06T15:05:01.291" v="23"/>
          <pc:sldLayoutMkLst>
            <pc:docMk/>
            <pc:sldMasterMk cId="1269562786" sldId="2147484115"/>
            <pc:sldLayoutMk cId="2355826436" sldId="2147484131"/>
          </pc:sldLayoutMkLst>
          <pc:picChg chg="add mod">
            <ac:chgData name="Michael Bauer" userId="59c3e81d-8f8c-46f7-acfd-fef1fb9220f5" providerId="ADAL" clId="{8FE931CD-66B5-451C-8AB8-845E6E99FCD8}" dt="2024-05-06T15:05:01.291" v="23"/>
            <ac:picMkLst>
              <pc:docMk/>
              <pc:sldMasterMk cId="1269562786" sldId="2147484115"/>
              <pc:sldLayoutMk cId="2355826436" sldId="2147484131"/>
              <ac:picMk id="2" creationId="{AABCB2D5-B644-F479-B264-86E403B02D89}"/>
            </ac:picMkLst>
          </pc:picChg>
        </pc:sldLayoutChg>
        <pc:sldLayoutChg chg="addSp modSp mod">
          <pc:chgData name="Michael Bauer" userId="59c3e81d-8f8c-46f7-acfd-fef1fb9220f5" providerId="ADAL" clId="{8FE931CD-66B5-451C-8AB8-845E6E99FCD8}" dt="2024-05-06T15:06:37.194" v="27" actId="1076"/>
          <pc:sldLayoutMkLst>
            <pc:docMk/>
            <pc:sldMasterMk cId="1269562786" sldId="2147484115"/>
            <pc:sldLayoutMk cId="3922436338" sldId="2147484136"/>
          </pc:sldLayoutMkLst>
          <pc:picChg chg="add mod">
            <ac:chgData name="Michael Bauer" userId="59c3e81d-8f8c-46f7-acfd-fef1fb9220f5" providerId="ADAL" clId="{8FE931CD-66B5-451C-8AB8-845E6E99FCD8}" dt="2024-05-06T15:06:37.194" v="27" actId="1076"/>
            <ac:picMkLst>
              <pc:docMk/>
              <pc:sldMasterMk cId="1269562786" sldId="2147484115"/>
              <pc:sldLayoutMk cId="3922436338" sldId="2147484136"/>
              <ac:picMk id="3" creationId="{3DE810DA-524E-AD3D-AD7C-61F983B77DA6}"/>
            </ac:picMkLst>
          </pc:picChg>
        </pc:sldLayoutChg>
        <pc:sldLayoutChg chg="addSp modSp">
          <pc:chgData name="Michael Bauer" userId="59c3e81d-8f8c-46f7-acfd-fef1fb9220f5" providerId="ADAL" clId="{8FE931CD-66B5-451C-8AB8-845E6E99FCD8}" dt="2024-05-06T15:05:12.477" v="24"/>
          <pc:sldLayoutMkLst>
            <pc:docMk/>
            <pc:sldMasterMk cId="1269562786" sldId="2147484115"/>
            <pc:sldLayoutMk cId="3989122806" sldId="2147484139"/>
          </pc:sldLayoutMkLst>
          <pc:picChg chg="add mod">
            <ac:chgData name="Michael Bauer" userId="59c3e81d-8f8c-46f7-acfd-fef1fb9220f5" providerId="ADAL" clId="{8FE931CD-66B5-451C-8AB8-845E6E99FCD8}" dt="2024-05-06T15:05:12.477" v="24"/>
            <ac:picMkLst>
              <pc:docMk/>
              <pc:sldMasterMk cId="1269562786" sldId="2147484115"/>
              <pc:sldLayoutMk cId="3989122806" sldId="2147484139"/>
              <ac:picMk id="2" creationId="{C2AB8E7D-F4AA-9F67-590D-BFEF2C699C20}"/>
            </ac:picMkLst>
          </pc:picChg>
        </pc:sldLayoutChg>
        <pc:sldLayoutChg chg="addSp modSp">
          <pc:chgData name="Michael Bauer" userId="59c3e81d-8f8c-46f7-acfd-fef1fb9220f5" providerId="ADAL" clId="{8FE931CD-66B5-451C-8AB8-845E6E99FCD8}" dt="2024-05-06T15:06:27.648" v="25"/>
          <pc:sldLayoutMkLst>
            <pc:docMk/>
            <pc:sldMasterMk cId="1269562786" sldId="2147484115"/>
            <pc:sldLayoutMk cId="2883525058" sldId="2147484140"/>
          </pc:sldLayoutMkLst>
          <pc:picChg chg="add mod">
            <ac:chgData name="Michael Bauer" userId="59c3e81d-8f8c-46f7-acfd-fef1fb9220f5" providerId="ADAL" clId="{8FE931CD-66B5-451C-8AB8-845E6E99FCD8}" dt="2024-05-06T15:06:27.648" v="25"/>
            <ac:picMkLst>
              <pc:docMk/>
              <pc:sldMasterMk cId="1269562786" sldId="2147484115"/>
              <pc:sldLayoutMk cId="2883525058" sldId="2147484140"/>
              <ac:picMk id="2" creationId="{173631FC-0EF5-6CBD-5CF3-5D6716099D0D}"/>
            </ac:picMkLst>
          </pc:picChg>
        </pc:sldLayoutChg>
        <pc:sldLayoutChg chg="addSp modSp mod">
          <pc:chgData name="Michael Bauer" userId="59c3e81d-8f8c-46f7-acfd-fef1fb9220f5" providerId="ADAL" clId="{8FE931CD-66B5-451C-8AB8-845E6E99FCD8}" dt="2024-05-06T15:10:18.094" v="36" actId="1076"/>
          <pc:sldLayoutMkLst>
            <pc:docMk/>
            <pc:sldMasterMk cId="1269562786" sldId="2147484115"/>
            <pc:sldLayoutMk cId="3244929310" sldId="2147484158"/>
          </pc:sldLayoutMkLst>
          <pc:picChg chg="add mod">
            <ac:chgData name="Michael Bauer" userId="59c3e81d-8f8c-46f7-acfd-fef1fb9220f5" providerId="ADAL" clId="{8FE931CD-66B5-451C-8AB8-845E6E99FCD8}" dt="2024-05-06T15:10:12.762" v="34" actId="1076"/>
            <ac:picMkLst>
              <pc:docMk/>
              <pc:sldMasterMk cId="1269562786" sldId="2147484115"/>
              <pc:sldLayoutMk cId="3244929310" sldId="2147484158"/>
              <ac:picMk id="2" creationId="{6FD47577-DDEB-2364-FED5-97C7C06A1143}"/>
            </ac:picMkLst>
          </pc:picChg>
          <pc:picChg chg="mod">
            <ac:chgData name="Michael Bauer" userId="59c3e81d-8f8c-46f7-acfd-fef1fb9220f5" providerId="ADAL" clId="{8FE931CD-66B5-451C-8AB8-845E6E99FCD8}" dt="2024-05-06T15:10:18.094" v="36" actId="1076"/>
            <ac:picMkLst>
              <pc:docMk/>
              <pc:sldMasterMk cId="1269562786" sldId="2147484115"/>
              <pc:sldLayoutMk cId="3244929310" sldId="2147484158"/>
              <ac:picMk id="6" creationId="{BE1EB75A-C591-401F-AF89-9D380C47F27C}"/>
            </ac:picMkLst>
          </pc:picChg>
        </pc:sldLayoutChg>
      </pc:sldMasterChg>
      <pc:sldMasterChg chg="modSldLayout">
        <pc:chgData name="Michael Bauer" userId="59c3e81d-8f8c-46f7-acfd-fef1fb9220f5" providerId="ADAL" clId="{8FE931CD-66B5-451C-8AB8-845E6E99FCD8}" dt="2024-05-08T11:48:09.147" v="1716" actId="14100"/>
        <pc:sldMasterMkLst>
          <pc:docMk/>
          <pc:sldMasterMk cId="2103164867" sldId="2147484170"/>
        </pc:sldMasterMkLst>
        <pc:sldLayoutChg chg="addSp modSp">
          <pc:chgData name="Michael Bauer" userId="59c3e81d-8f8c-46f7-acfd-fef1fb9220f5" providerId="ADAL" clId="{8FE931CD-66B5-451C-8AB8-845E6E99FCD8}" dt="2024-05-08T11:47:41.143" v="1711"/>
          <pc:sldLayoutMkLst>
            <pc:docMk/>
            <pc:sldMasterMk cId="2103164867" sldId="2147484170"/>
            <pc:sldLayoutMk cId="3146428638" sldId="2147484171"/>
          </pc:sldLayoutMkLst>
          <pc:picChg chg="add mod">
            <ac:chgData name="Michael Bauer" userId="59c3e81d-8f8c-46f7-acfd-fef1fb9220f5" providerId="ADAL" clId="{8FE931CD-66B5-451C-8AB8-845E6E99FCD8}" dt="2024-05-08T11:47:41.143" v="1711"/>
            <ac:picMkLst>
              <pc:docMk/>
              <pc:sldMasterMk cId="2103164867" sldId="2147484170"/>
              <pc:sldLayoutMk cId="3146428638" sldId="2147484171"/>
              <ac:picMk id="2" creationId="{BE5F9A85-528B-577F-F729-2E638DD31904}"/>
            </ac:picMkLst>
          </pc:picChg>
        </pc:sldLayoutChg>
        <pc:sldLayoutChg chg="addSp modSp mod">
          <pc:chgData name="Michael Bauer" userId="59c3e81d-8f8c-46f7-acfd-fef1fb9220f5" providerId="ADAL" clId="{8FE931CD-66B5-451C-8AB8-845E6E99FCD8}" dt="2024-05-08T11:47:51.634" v="1713" actId="1076"/>
          <pc:sldLayoutMkLst>
            <pc:docMk/>
            <pc:sldMasterMk cId="2103164867" sldId="2147484170"/>
            <pc:sldLayoutMk cId="501046240" sldId="2147484172"/>
          </pc:sldLayoutMkLst>
          <pc:picChg chg="add mod">
            <ac:chgData name="Michael Bauer" userId="59c3e81d-8f8c-46f7-acfd-fef1fb9220f5" providerId="ADAL" clId="{8FE931CD-66B5-451C-8AB8-845E6E99FCD8}" dt="2024-05-08T11:47:51.634" v="1713" actId="1076"/>
            <ac:picMkLst>
              <pc:docMk/>
              <pc:sldMasterMk cId="2103164867" sldId="2147484170"/>
              <pc:sldLayoutMk cId="501046240" sldId="2147484172"/>
              <ac:picMk id="2" creationId="{608EC105-4B2A-99A2-E858-22F9FF41BD8D}"/>
            </ac:picMkLst>
          </pc:picChg>
        </pc:sldLayoutChg>
        <pc:sldLayoutChg chg="addSp modSp mod">
          <pc:chgData name="Michael Bauer" userId="59c3e81d-8f8c-46f7-acfd-fef1fb9220f5" providerId="ADAL" clId="{8FE931CD-66B5-451C-8AB8-845E6E99FCD8}" dt="2024-05-08T11:48:09.147" v="1716" actId="14100"/>
          <pc:sldLayoutMkLst>
            <pc:docMk/>
            <pc:sldMasterMk cId="2103164867" sldId="2147484170"/>
            <pc:sldLayoutMk cId="426977868" sldId="2147484174"/>
          </pc:sldLayoutMkLst>
          <pc:spChg chg="mod">
            <ac:chgData name="Michael Bauer" userId="59c3e81d-8f8c-46f7-acfd-fef1fb9220f5" providerId="ADAL" clId="{8FE931CD-66B5-451C-8AB8-845E6E99FCD8}" dt="2024-05-08T11:48:09.147" v="1716" actId="14100"/>
            <ac:spMkLst>
              <pc:docMk/>
              <pc:sldMasterMk cId="2103164867" sldId="2147484170"/>
              <pc:sldLayoutMk cId="426977868" sldId="2147484174"/>
              <ac:spMk id="3" creationId="{F7077987-5702-498F-9572-7573D221FBCD}"/>
            </ac:spMkLst>
          </pc:spChg>
          <pc:spChg chg="mod">
            <ac:chgData name="Michael Bauer" userId="59c3e81d-8f8c-46f7-acfd-fef1fb9220f5" providerId="ADAL" clId="{8FE931CD-66B5-451C-8AB8-845E6E99FCD8}" dt="2024-05-06T15:30:11.492" v="97" actId="1076"/>
            <ac:spMkLst>
              <pc:docMk/>
              <pc:sldMasterMk cId="2103164867" sldId="2147484170"/>
              <pc:sldLayoutMk cId="426977868" sldId="2147484174"/>
              <ac:spMk id="6" creationId="{00000000-0000-0000-0000-000000000000}"/>
            </ac:spMkLst>
          </pc:spChg>
          <pc:picChg chg="add mod">
            <ac:chgData name="Michael Bauer" userId="59c3e81d-8f8c-46f7-acfd-fef1fb9220f5" providerId="ADAL" clId="{8FE931CD-66B5-451C-8AB8-845E6E99FCD8}" dt="2024-05-08T11:48:04.278" v="1715" actId="1076"/>
            <ac:picMkLst>
              <pc:docMk/>
              <pc:sldMasterMk cId="2103164867" sldId="2147484170"/>
              <pc:sldLayoutMk cId="426977868" sldId="2147484174"/>
              <ac:picMk id="2" creationId="{78C92FEF-D587-DA34-6CED-AADC60CCB8B8}"/>
            </ac:picMkLst>
          </pc:picChg>
        </pc:sldLayoutChg>
      </pc:sldMasterChg>
      <pc:sldMasterChg chg="modSldLayout">
        <pc:chgData name="Michael Bauer" userId="59c3e81d-8f8c-46f7-acfd-fef1fb9220f5" providerId="ADAL" clId="{8FE931CD-66B5-451C-8AB8-845E6E99FCD8}" dt="2024-05-08T11:48:24.703" v="1717"/>
        <pc:sldMasterMkLst>
          <pc:docMk/>
          <pc:sldMasterMk cId="2133574436" sldId="2147484187"/>
        </pc:sldMasterMkLst>
        <pc:sldLayoutChg chg="addSp modSp">
          <pc:chgData name="Michael Bauer" userId="59c3e81d-8f8c-46f7-acfd-fef1fb9220f5" providerId="ADAL" clId="{8FE931CD-66B5-451C-8AB8-845E6E99FCD8}" dt="2024-05-08T11:48:24.703" v="1717"/>
          <pc:sldLayoutMkLst>
            <pc:docMk/>
            <pc:sldMasterMk cId="2133574436" sldId="2147484187"/>
            <pc:sldLayoutMk cId="2432558121" sldId="2147484193"/>
          </pc:sldLayoutMkLst>
          <pc:picChg chg="add mod">
            <ac:chgData name="Michael Bauer" userId="59c3e81d-8f8c-46f7-acfd-fef1fb9220f5" providerId="ADAL" clId="{8FE931CD-66B5-451C-8AB8-845E6E99FCD8}" dt="2024-05-08T11:48:24.703" v="1717"/>
            <ac:picMkLst>
              <pc:docMk/>
              <pc:sldMasterMk cId="2133574436" sldId="2147484187"/>
              <pc:sldLayoutMk cId="2432558121" sldId="2147484193"/>
              <ac:picMk id="2" creationId="{4438A736-8807-6C98-42C8-B5557342961B}"/>
            </ac:picMkLst>
          </pc:picChg>
        </pc:sldLayoutChg>
      </pc:sldMasterChg>
    </pc:docChg>
  </pc:docChgLst>
  <pc:docChgLst>
    <pc:chgData name="Michael Bauer" userId="59c3e81d-8f8c-46f7-acfd-fef1fb9220f5" providerId="ADAL" clId="{39B23760-C5FC-46F8-AB0F-2A61E6262282}"/>
    <pc:docChg chg="modSld">
      <pc:chgData name="Michael Bauer" userId="59c3e81d-8f8c-46f7-acfd-fef1fb9220f5" providerId="ADAL" clId="{39B23760-C5FC-46F8-AB0F-2A61E6262282}" dt="2024-04-18T09:46:02.395" v="5" actId="403"/>
      <pc:docMkLst>
        <pc:docMk/>
      </pc:docMkLst>
      <pc:sldChg chg="addSp modSp mod">
        <pc:chgData name="Michael Bauer" userId="59c3e81d-8f8c-46f7-acfd-fef1fb9220f5" providerId="ADAL" clId="{39B23760-C5FC-46F8-AB0F-2A61E6262282}" dt="2024-04-18T09:46:02.395" v="5" actId="403"/>
        <pc:sldMkLst>
          <pc:docMk/>
          <pc:sldMk cId="3097239452" sldId="13948"/>
        </pc:sldMkLst>
        <pc:spChg chg="add mod">
          <ac:chgData name="Michael Bauer" userId="59c3e81d-8f8c-46f7-acfd-fef1fb9220f5" providerId="ADAL" clId="{39B23760-C5FC-46F8-AB0F-2A61E6262282}" dt="2024-04-18T09:46:02.395" v="5" actId="403"/>
          <ac:spMkLst>
            <pc:docMk/>
            <pc:sldMk cId="3097239452" sldId="13948"/>
            <ac:spMk id="6" creationId="{BE0618A6-753E-EB27-0CE6-2AE90E2E0084}"/>
          </ac:spMkLst>
        </pc:spChg>
      </pc:sldChg>
    </pc:docChg>
  </pc:docChgLst>
  <pc:docChgLst>
    <pc:chgData name="Brianna Lien" userId="f3b5815a-0702-414c-9464-ffb25822869a" providerId="ADAL" clId="{524229EB-1587-46F9-A145-DABF08C02510}"/>
    <pc:docChg chg="undo custSel addSld delSld modSld sldOrd delMainMaster modSection">
      <pc:chgData name="Brianna Lien" userId="f3b5815a-0702-414c-9464-ffb25822869a" providerId="ADAL" clId="{524229EB-1587-46F9-A145-DABF08C02510}" dt="2024-06-07T09:10:18.881" v="503" actId="20577"/>
      <pc:docMkLst>
        <pc:docMk/>
      </pc:docMkLst>
      <pc:sldChg chg="addSp delSp modSp mod modClrScheme chgLayout">
        <pc:chgData name="Brianna Lien" userId="f3b5815a-0702-414c-9464-ffb25822869a" providerId="ADAL" clId="{524229EB-1587-46F9-A145-DABF08C02510}" dt="2024-06-06T13:36:44.440" v="230" actId="478"/>
        <pc:sldMkLst>
          <pc:docMk/>
          <pc:sldMk cId="153328512" sldId="282"/>
        </pc:sldMkLst>
        <pc:spChg chg="mod ord">
          <ac:chgData name="Brianna Lien" userId="f3b5815a-0702-414c-9464-ffb25822869a" providerId="ADAL" clId="{524229EB-1587-46F9-A145-DABF08C02510}" dt="2024-06-06T12:59:25.728" v="20" actId="700"/>
          <ac:spMkLst>
            <pc:docMk/>
            <pc:sldMk cId="153328512" sldId="282"/>
            <ac:spMk id="2" creationId="{112C4744-9325-4A92-B937-69B8396C5EAE}"/>
          </ac:spMkLst>
        </pc:spChg>
        <pc:spChg chg="add del mod ord">
          <ac:chgData name="Brianna Lien" userId="f3b5815a-0702-414c-9464-ffb25822869a" providerId="ADAL" clId="{524229EB-1587-46F9-A145-DABF08C02510}" dt="2024-06-06T13:36:44.440" v="230" actId="478"/>
          <ac:spMkLst>
            <pc:docMk/>
            <pc:sldMk cId="153328512" sldId="282"/>
            <ac:spMk id="4" creationId="{2B0B4C58-E98D-0C80-1552-16A484FF7989}"/>
          </ac:spMkLst>
        </pc:spChg>
        <pc:spChg chg="mod">
          <ac:chgData name="Brianna Lien" userId="f3b5815a-0702-414c-9464-ffb25822869a" providerId="ADAL" clId="{524229EB-1587-46F9-A145-DABF08C02510}" dt="2024-06-06T13:36:40.006" v="229" actId="207"/>
          <ac:spMkLst>
            <pc:docMk/>
            <pc:sldMk cId="153328512" sldId="282"/>
            <ac:spMk id="8" creationId="{4E382482-5EE0-490A-A0B9-A5FC1255CBE8}"/>
          </ac:spMkLst>
        </pc:spChg>
        <pc:picChg chg="add mod">
          <ac:chgData name="Brianna Lien" userId="f3b5815a-0702-414c-9464-ffb25822869a" providerId="ADAL" clId="{524229EB-1587-46F9-A145-DABF08C02510}" dt="2024-06-06T12:59:41.811" v="22"/>
          <ac:picMkLst>
            <pc:docMk/>
            <pc:sldMk cId="153328512" sldId="282"/>
            <ac:picMk id="5" creationId="{D87D4FFC-87BA-2DBA-891A-354938E0FBB6}"/>
          </ac:picMkLst>
        </pc:picChg>
      </pc:sldChg>
      <pc:sldChg chg="addSp delSp modSp add mod setBg modClrScheme chgLayout">
        <pc:chgData name="Brianna Lien" userId="f3b5815a-0702-414c-9464-ffb25822869a" providerId="ADAL" clId="{524229EB-1587-46F9-A145-DABF08C02510}" dt="2024-06-06T14:19:32.852" v="483" actId="700"/>
        <pc:sldMkLst>
          <pc:docMk/>
          <pc:sldMk cId="2477321240" sldId="302"/>
        </pc:sldMkLst>
        <pc:spChg chg="mod ord">
          <ac:chgData name="Brianna Lien" userId="f3b5815a-0702-414c-9464-ffb25822869a" providerId="ADAL" clId="{524229EB-1587-46F9-A145-DABF08C02510}" dt="2024-06-06T14:19:32.852" v="483" actId="700"/>
          <ac:spMkLst>
            <pc:docMk/>
            <pc:sldMk cId="2477321240" sldId="302"/>
            <ac:spMk id="2" creationId="{73AF2FDF-F5C0-C557-D509-BFC34F2D85BB}"/>
          </ac:spMkLst>
        </pc:spChg>
        <pc:spChg chg="del">
          <ac:chgData name="Brianna Lien" userId="f3b5815a-0702-414c-9464-ffb25822869a" providerId="ADAL" clId="{524229EB-1587-46F9-A145-DABF08C02510}" dt="2024-06-06T12:57:08.408" v="7" actId="478"/>
          <ac:spMkLst>
            <pc:docMk/>
            <pc:sldMk cId="2477321240" sldId="302"/>
            <ac:spMk id="3" creationId="{603EA8C1-7226-22A8-B04B-88FCDD8F8A65}"/>
          </ac:spMkLst>
        </pc:spChg>
        <pc:spChg chg="add del mod">
          <ac:chgData name="Brianna Lien" userId="f3b5815a-0702-414c-9464-ffb25822869a" providerId="ADAL" clId="{524229EB-1587-46F9-A145-DABF08C02510}" dt="2024-06-06T14:19:25.765" v="482" actId="26606"/>
          <ac:spMkLst>
            <pc:docMk/>
            <pc:sldMk cId="2477321240" sldId="302"/>
            <ac:spMk id="4" creationId="{E318CA5D-EFB9-7AA8-1169-605D97874A8B}"/>
          </ac:spMkLst>
        </pc:spChg>
        <pc:spChg chg="add mod">
          <ac:chgData name="Brianna Lien" userId="f3b5815a-0702-414c-9464-ffb25822869a" providerId="ADAL" clId="{524229EB-1587-46F9-A145-DABF08C02510}" dt="2024-06-06T14:19:25.765" v="482" actId="26606"/>
          <ac:spMkLst>
            <pc:docMk/>
            <pc:sldMk cId="2477321240" sldId="302"/>
            <ac:spMk id="6" creationId="{616B8479-4D96-12BB-C809-95B52771AF9A}"/>
          </ac:spMkLst>
        </pc:spChg>
        <pc:spChg chg="add del mod">
          <ac:chgData name="Brianna Lien" userId="f3b5815a-0702-414c-9464-ffb25822869a" providerId="ADAL" clId="{524229EB-1587-46F9-A145-DABF08C02510}" dt="2024-06-06T12:57:14.295" v="8" actId="478"/>
          <ac:spMkLst>
            <pc:docMk/>
            <pc:sldMk cId="2477321240" sldId="302"/>
            <ac:spMk id="8" creationId="{35EF0C0D-FB56-E111-5CDD-2AC5C15E542A}"/>
          </ac:spMkLst>
        </pc:spChg>
        <pc:spChg chg="add del mod ord">
          <ac:chgData name="Brianna Lien" userId="f3b5815a-0702-414c-9464-ffb25822869a" providerId="ADAL" clId="{524229EB-1587-46F9-A145-DABF08C02510}" dt="2024-06-06T14:19:32.852" v="483" actId="700"/>
          <ac:spMkLst>
            <pc:docMk/>
            <pc:sldMk cId="2477321240" sldId="302"/>
            <ac:spMk id="9" creationId="{C378F4AA-E8B3-EBF3-5DD9-20FB0A7F8BCE}"/>
          </ac:spMkLst>
        </pc:spChg>
        <pc:spChg chg="add del">
          <ac:chgData name="Brianna Lien" userId="f3b5815a-0702-414c-9464-ffb25822869a" providerId="ADAL" clId="{524229EB-1587-46F9-A145-DABF08C02510}" dt="2024-06-06T14:19:25.765" v="482" actId="26606"/>
          <ac:spMkLst>
            <pc:docMk/>
            <pc:sldMk cId="2477321240" sldId="302"/>
            <ac:spMk id="15" creationId="{A8CCCB6D-5162-4AAE-A5E3-3AC55410DBCE}"/>
          </ac:spMkLst>
        </pc:spChg>
        <pc:spChg chg="add del">
          <ac:chgData name="Brianna Lien" userId="f3b5815a-0702-414c-9464-ffb25822869a" providerId="ADAL" clId="{524229EB-1587-46F9-A145-DABF08C02510}" dt="2024-06-06T14:19:25.765" v="482" actId="26606"/>
          <ac:spMkLst>
            <pc:docMk/>
            <pc:sldMk cId="2477321240" sldId="302"/>
            <ac:spMk id="17" creationId="{0BCD8C04-CC7B-40EF-82EB-E9821F79BB86}"/>
          </ac:spMkLst>
        </pc:spChg>
        <pc:picChg chg="add del">
          <ac:chgData name="Brianna Lien" userId="f3b5815a-0702-414c-9464-ffb25822869a" providerId="ADAL" clId="{524229EB-1587-46F9-A145-DABF08C02510}" dt="2024-06-06T14:19:25.765" v="482" actId="26606"/>
          <ac:picMkLst>
            <pc:docMk/>
            <pc:sldMk cId="2477321240" sldId="302"/>
            <ac:picMk id="11" creationId="{2CA42BE4-35D7-3202-3869-584112935DC1}"/>
          </ac:picMkLst>
        </pc:picChg>
      </pc:sldChg>
      <pc:sldChg chg="del">
        <pc:chgData name="Brianna Lien" userId="f3b5815a-0702-414c-9464-ffb25822869a" providerId="ADAL" clId="{524229EB-1587-46F9-A145-DABF08C02510}" dt="2024-06-06T12:59:38.882" v="21" actId="47"/>
        <pc:sldMkLst>
          <pc:docMk/>
          <pc:sldMk cId="3097239452" sldId="13948"/>
        </pc:sldMkLst>
      </pc:sldChg>
      <pc:sldChg chg="modSp del mod">
        <pc:chgData name="Brianna Lien" userId="f3b5815a-0702-414c-9464-ffb25822869a" providerId="ADAL" clId="{524229EB-1587-46F9-A145-DABF08C02510}" dt="2024-06-06T12:54:47.339" v="1" actId="47"/>
        <pc:sldMkLst>
          <pc:docMk/>
          <pc:sldMk cId="3197740031" sldId="2145706049"/>
        </pc:sldMkLst>
        <pc:spChg chg="mod">
          <ac:chgData name="Brianna Lien" userId="f3b5815a-0702-414c-9464-ffb25822869a" providerId="ADAL" clId="{524229EB-1587-46F9-A145-DABF08C02510}" dt="2024-06-06T12:54:12.834" v="0" actId="207"/>
          <ac:spMkLst>
            <pc:docMk/>
            <pc:sldMk cId="3197740031" sldId="2145706049"/>
            <ac:spMk id="4" creationId="{AE40D386-AB9F-4B1C-8CF2-346EA42D5561}"/>
          </ac:spMkLst>
        </pc:spChg>
      </pc:sldChg>
      <pc:sldChg chg="addSp modSp mod modClrScheme chgLayout">
        <pc:chgData name="Brianna Lien" userId="f3b5815a-0702-414c-9464-ffb25822869a" providerId="ADAL" clId="{524229EB-1587-46F9-A145-DABF08C02510}" dt="2024-06-06T14:02:28.976" v="441"/>
        <pc:sldMkLst>
          <pc:docMk/>
          <pc:sldMk cId="4066212355" sldId="2147375221"/>
        </pc:sldMkLst>
        <pc:spChg chg="mod">
          <ac:chgData name="Brianna Lien" userId="f3b5815a-0702-414c-9464-ffb25822869a" providerId="ADAL" clId="{524229EB-1587-46F9-A145-DABF08C02510}" dt="2024-06-06T14:02:25.562" v="440" actId="14100"/>
          <ac:spMkLst>
            <pc:docMk/>
            <pc:sldMk cId="4066212355" sldId="2147375221"/>
            <ac:spMk id="23" creationId="{2526FF38-5CA1-43DF-A513-829624073D05}"/>
          </ac:spMkLst>
        </pc:spChg>
        <pc:spChg chg="mod ord">
          <ac:chgData name="Brianna Lien" userId="f3b5815a-0702-414c-9464-ffb25822869a" providerId="ADAL" clId="{524229EB-1587-46F9-A145-DABF08C02510}" dt="2024-06-06T13:29:56.189" v="181" actId="14100"/>
          <ac:spMkLst>
            <pc:docMk/>
            <pc:sldMk cId="4066212355" sldId="2147375221"/>
            <ac:spMk id="31" creationId="{199D554E-8A05-458E-A83F-2A9D5D230F21}"/>
          </ac:spMkLst>
        </pc:spChg>
        <pc:picChg chg="add mod">
          <ac:chgData name="Brianna Lien" userId="f3b5815a-0702-414c-9464-ffb25822869a" providerId="ADAL" clId="{524229EB-1587-46F9-A145-DABF08C02510}" dt="2024-06-06T14:02:28.976" v="441"/>
          <ac:picMkLst>
            <pc:docMk/>
            <pc:sldMk cId="4066212355" sldId="2147375221"/>
            <ac:picMk id="3" creationId="{466344E3-BA74-D542-05ED-C9402C0D2D32}"/>
          </ac:picMkLst>
        </pc:picChg>
      </pc:sldChg>
      <pc:sldChg chg="addSp delSp modSp mod modClrScheme chgLayout">
        <pc:chgData name="Brianna Lien" userId="f3b5815a-0702-414c-9464-ffb25822869a" providerId="ADAL" clId="{524229EB-1587-46F9-A145-DABF08C02510}" dt="2024-06-06T14:01:57.321" v="435" actId="1076"/>
        <pc:sldMkLst>
          <pc:docMk/>
          <pc:sldMk cId="191556977" sldId="2147375222"/>
        </pc:sldMkLst>
        <pc:spChg chg="mod ord">
          <ac:chgData name="Brianna Lien" userId="f3b5815a-0702-414c-9464-ffb25822869a" providerId="ADAL" clId="{524229EB-1587-46F9-A145-DABF08C02510}" dt="2024-06-06T13:06:01.571" v="51" actId="14100"/>
          <ac:spMkLst>
            <pc:docMk/>
            <pc:sldMk cId="191556977" sldId="2147375222"/>
            <ac:spMk id="4" creationId="{E2C5F19D-5D23-4DD7-BFB4-BCEC39A8E07F}"/>
          </ac:spMkLst>
        </pc:spChg>
        <pc:spChg chg="del mod ord">
          <ac:chgData name="Brianna Lien" userId="f3b5815a-0702-414c-9464-ffb25822869a" providerId="ADAL" clId="{524229EB-1587-46F9-A145-DABF08C02510}" dt="2024-06-06T13:05:20.623" v="37" actId="478"/>
          <ac:spMkLst>
            <pc:docMk/>
            <pc:sldMk cId="191556977" sldId="2147375222"/>
            <ac:spMk id="13" creationId="{3E44039E-0E01-43B2-8F8E-52E63947CCDC}"/>
          </ac:spMkLst>
        </pc:spChg>
        <pc:spChg chg="mod">
          <ac:chgData name="Brianna Lien" userId="f3b5815a-0702-414c-9464-ffb25822869a" providerId="ADAL" clId="{524229EB-1587-46F9-A145-DABF08C02510}" dt="2024-06-06T13:39:10.098" v="251" actId="20577"/>
          <ac:spMkLst>
            <pc:docMk/>
            <pc:sldMk cId="191556977" sldId="2147375222"/>
            <ac:spMk id="32" creationId="{EC59BF30-F868-4B48-B3E6-998118330E8F}"/>
          </ac:spMkLst>
        </pc:spChg>
        <pc:graphicFrameChg chg="mod">
          <ac:chgData name="Brianna Lien" userId="f3b5815a-0702-414c-9464-ffb25822869a" providerId="ADAL" clId="{524229EB-1587-46F9-A145-DABF08C02510}" dt="2024-06-06T13:53:40.867" v="400"/>
          <ac:graphicFrameMkLst>
            <pc:docMk/>
            <pc:sldMk cId="191556977" sldId="2147375222"/>
            <ac:graphicFrameMk id="5" creationId="{33E909BA-4F33-603A-D31E-27C2B79D97BB}"/>
          </ac:graphicFrameMkLst>
        </pc:graphicFrameChg>
        <pc:picChg chg="add mod">
          <ac:chgData name="Brianna Lien" userId="f3b5815a-0702-414c-9464-ffb25822869a" providerId="ADAL" clId="{524229EB-1587-46F9-A145-DABF08C02510}" dt="2024-06-06T14:01:57.321" v="435" actId="1076"/>
          <ac:picMkLst>
            <pc:docMk/>
            <pc:sldMk cId="191556977" sldId="2147375222"/>
            <ac:picMk id="2" creationId="{971DFFBB-13B9-E1C8-D859-93B3722A5B4B}"/>
          </ac:picMkLst>
        </pc:picChg>
      </pc:sldChg>
      <pc:sldChg chg="delSp modSp del mod modClrScheme chgLayout">
        <pc:chgData name="Brianna Lien" userId="f3b5815a-0702-414c-9464-ffb25822869a" providerId="ADAL" clId="{524229EB-1587-46F9-A145-DABF08C02510}" dt="2024-06-06T13:52:12.695" v="393" actId="47"/>
        <pc:sldMkLst>
          <pc:docMk/>
          <pc:sldMk cId="515246607" sldId="2147469917"/>
        </pc:sldMkLst>
        <pc:spChg chg="mod ord">
          <ac:chgData name="Brianna Lien" userId="f3b5815a-0702-414c-9464-ffb25822869a" providerId="ADAL" clId="{524229EB-1587-46F9-A145-DABF08C02510}" dt="2024-06-06T13:28:33.744" v="177" actId="255"/>
          <ac:spMkLst>
            <pc:docMk/>
            <pc:sldMk cId="515246607" sldId="2147469917"/>
            <ac:spMk id="2" creationId="{DE739CEE-2817-4FA1-84F8-2826C9C52F5A}"/>
          </ac:spMkLst>
        </pc:spChg>
        <pc:spChg chg="del mod ord">
          <ac:chgData name="Brianna Lien" userId="f3b5815a-0702-414c-9464-ffb25822869a" providerId="ADAL" clId="{524229EB-1587-46F9-A145-DABF08C02510}" dt="2024-06-06T13:28:28.960" v="176" actId="478"/>
          <ac:spMkLst>
            <pc:docMk/>
            <pc:sldMk cId="515246607" sldId="2147469917"/>
            <ac:spMk id="3" creationId="{4D19B56A-EE8F-42C3-B1B7-9946D84F876C}"/>
          </ac:spMkLst>
        </pc:spChg>
        <pc:spChg chg="mod ord">
          <ac:chgData name="Brianna Lien" userId="f3b5815a-0702-414c-9464-ffb25822869a" providerId="ADAL" clId="{524229EB-1587-46F9-A145-DABF08C02510}" dt="2024-06-06T13:28:24.107" v="175" actId="700"/>
          <ac:spMkLst>
            <pc:docMk/>
            <pc:sldMk cId="515246607" sldId="2147469917"/>
            <ac:spMk id="5" creationId="{65900A18-51F1-404B-B8AF-A30D29C61ACE}"/>
          </ac:spMkLst>
        </pc:spChg>
      </pc:sldChg>
      <pc:sldChg chg="addSp delSp modSp mod modClrScheme chgLayout">
        <pc:chgData name="Brianna Lien" userId="f3b5815a-0702-414c-9464-ffb25822869a" providerId="ADAL" clId="{524229EB-1587-46F9-A145-DABF08C02510}" dt="2024-06-06T14:21:17.257" v="490" actId="207"/>
        <pc:sldMkLst>
          <pc:docMk/>
          <pc:sldMk cId="1783563016" sldId="2147469921"/>
        </pc:sldMkLst>
        <pc:spChg chg="mod ord">
          <ac:chgData name="Brianna Lien" userId="f3b5815a-0702-414c-9464-ffb25822869a" providerId="ADAL" clId="{524229EB-1587-46F9-A145-DABF08C02510}" dt="2024-06-06T13:45:10.712" v="325" actId="255"/>
          <ac:spMkLst>
            <pc:docMk/>
            <pc:sldMk cId="1783563016" sldId="2147469921"/>
            <ac:spMk id="2" creationId="{DE739CEE-2817-4FA1-84F8-2826C9C52F5A}"/>
          </ac:spMkLst>
        </pc:spChg>
        <pc:spChg chg="del mod ord">
          <ac:chgData name="Brianna Lien" userId="f3b5815a-0702-414c-9464-ffb25822869a" providerId="ADAL" clId="{524229EB-1587-46F9-A145-DABF08C02510}" dt="2024-06-06T13:32:05.256" v="192" actId="478"/>
          <ac:spMkLst>
            <pc:docMk/>
            <pc:sldMk cId="1783563016" sldId="2147469921"/>
            <ac:spMk id="3" creationId="{4D19B56A-EE8F-42C3-B1B7-9946D84F876C}"/>
          </ac:spMkLst>
        </pc:spChg>
        <pc:spChg chg="mod ord">
          <ac:chgData name="Brianna Lien" userId="f3b5815a-0702-414c-9464-ffb25822869a" providerId="ADAL" clId="{524229EB-1587-46F9-A145-DABF08C02510}" dt="2024-06-06T13:58:40.749" v="413" actId="14100"/>
          <ac:spMkLst>
            <pc:docMk/>
            <pc:sldMk cId="1783563016" sldId="2147469921"/>
            <ac:spMk id="5" creationId="{65900A18-51F1-404B-B8AF-A30D29C61ACE}"/>
          </ac:spMkLst>
        </pc:spChg>
        <pc:spChg chg="mod">
          <ac:chgData name="Brianna Lien" userId="f3b5815a-0702-414c-9464-ffb25822869a" providerId="ADAL" clId="{524229EB-1587-46F9-A145-DABF08C02510}" dt="2024-06-06T13:47:42.610" v="347" actId="114"/>
          <ac:spMkLst>
            <pc:docMk/>
            <pc:sldMk cId="1783563016" sldId="2147469921"/>
            <ac:spMk id="7" creationId="{74025699-7BA4-4E00-8C0C-D8F29C79906B}"/>
          </ac:spMkLst>
        </pc:spChg>
        <pc:graphicFrameChg chg="modGraphic">
          <ac:chgData name="Brianna Lien" userId="f3b5815a-0702-414c-9464-ffb25822869a" providerId="ADAL" clId="{524229EB-1587-46F9-A145-DABF08C02510}" dt="2024-06-06T13:47:31.921" v="344" actId="947"/>
          <ac:graphicFrameMkLst>
            <pc:docMk/>
            <pc:sldMk cId="1783563016" sldId="2147469921"/>
            <ac:graphicFrameMk id="11" creationId="{3F61B7C3-F115-4903-9FD3-DFD3B6EF467B}"/>
          </ac:graphicFrameMkLst>
        </pc:graphicFrameChg>
        <pc:graphicFrameChg chg="mod">
          <ac:chgData name="Brianna Lien" userId="f3b5815a-0702-414c-9464-ffb25822869a" providerId="ADAL" clId="{524229EB-1587-46F9-A145-DABF08C02510}" dt="2024-06-06T14:21:17.257" v="490" actId="207"/>
          <ac:graphicFrameMkLst>
            <pc:docMk/>
            <pc:sldMk cId="1783563016" sldId="2147469921"/>
            <ac:graphicFrameMk id="12" creationId="{B3F9C4EA-4569-4E4B-8A11-D5FECDC3FA0B}"/>
          </ac:graphicFrameMkLst>
        </pc:graphicFrameChg>
        <pc:picChg chg="add mod">
          <ac:chgData name="Brianna Lien" userId="f3b5815a-0702-414c-9464-ffb25822869a" providerId="ADAL" clId="{524229EB-1587-46F9-A145-DABF08C02510}" dt="2024-06-06T14:03:11.533" v="449"/>
          <ac:picMkLst>
            <pc:docMk/>
            <pc:sldMk cId="1783563016" sldId="2147469921"/>
            <ac:picMk id="6" creationId="{37736E1D-5AD0-7EAA-31B9-8BE8FD764C60}"/>
          </ac:picMkLst>
        </pc:picChg>
      </pc:sldChg>
      <pc:sldChg chg="modSp add mod modNotes">
        <pc:chgData name="Brianna Lien" userId="f3b5815a-0702-414c-9464-ffb25822869a" providerId="ADAL" clId="{524229EB-1587-46F9-A145-DABF08C02510}" dt="2024-06-07T09:09:29.782" v="501" actId="207"/>
        <pc:sldMkLst>
          <pc:docMk/>
          <pc:sldMk cId="3200755068" sldId="2147469927"/>
        </pc:sldMkLst>
        <pc:spChg chg="mod">
          <ac:chgData name="Brianna Lien" userId="f3b5815a-0702-414c-9464-ffb25822869a" providerId="ADAL" clId="{524229EB-1587-46F9-A145-DABF08C02510}" dt="2024-06-06T13:51:53.616" v="391" actId="14100"/>
          <ac:spMkLst>
            <pc:docMk/>
            <pc:sldMk cId="3200755068" sldId="2147469927"/>
            <ac:spMk id="5" creationId="{5EEA7567-862D-27E9-BD38-B2B324A5C333}"/>
          </ac:spMkLst>
        </pc:spChg>
        <pc:spChg chg="mod">
          <ac:chgData name="Brianna Lien" userId="f3b5815a-0702-414c-9464-ffb25822869a" providerId="ADAL" clId="{524229EB-1587-46F9-A145-DABF08C02510}" dt="2024-06-06T13:49:34.730" v="377" actId="20577"/>
          <ac:spMkLst>
            <pc:docMk/>
            <pc:sldMk cId="3200755068" sldId="2147469927"/>
            <ac:spMk id="7" creationId="{69F2BE73-3EB4-FDE1-A04B-FEDEB178ECF6}"/>
          </ac:spMkLst>
        </pc:spChg>
        <pc:spChg chg="mod">
          <ac:chgData name="Brianna Lien" userId="f3b5815a-0702-414c-9464-ffb25822869a" providerId="ADAL" clId="{524229EB-1587-46F9-A145-DABF08C02510}" dt="2024-06-07T09:09:16.924" v="500" actId="208"/>
          <ac:spMkLst>
            <pc:docMk/>
            <pc:sldMk cId="3200755068" sldId="2147469927"/>
            <ac:spMk id="15" creationId="{176E1C42-08AF-7101-2B65-ABF0945C99B4}"/>
          </ac:spMkLst>
        </pc:spChg>
        <pc:spChg chg="mod">
          <ac:chgData name="Brianna Lien" userId="f3b5815a-0702-414c-9464-ffb25822869a" providerId="ADAL" clId="{524229EB-1587-46F9-A145-DABF08C02510}" dt="2024-06-06T14:00:14.161" v="421" actId="20577"/>
          <ac:spMkLst>
            <pc:docMk/>
            <pc:sldMk cId="3200755068" sldId="2147469927"/>
            <ac:spMk id="49" creationId="{FB50AD3F-1395-65E6-7219-396698F38953}"/>
          </ac:spMkLst>
        </pc:spChg>
        <pc:graphicFrameChg chg="mod modGraphic">
          <ac:chgData name="Brianna Lien" userId="f3b5815a-0702-414c-9464-ffb25822869a" providerId="ADAL" clId="{524229EB-1587-46F9-A145-DABF08C02510}" dt="2024-06-07T09:09:29.782" v="501" actId="207"/>
          <ac:graphicFrameMkLst>
            <pc:docMk/>
            <pc:sldMk cId="3200755068" sldId="2147469927"/>
            <ac:graphicFrameMk id="3" creationId="{32F37E9B-BCCB-7738-8E4E-97BB946FB77F}"/>
          </ac:graphicFrameMkLst>
        </pc:graphicFrameChg>
        <pc:graphicFrameChg chg="mod">
          <ac:chgData name="Brianna Lien" userId="f3b5815a-0702-414c-9464-ffb25822869a" providerId="ADAL" clId="{524229EB-1587-46F9-A145-DABF08C02510}" dt="2024-06-07T09:08:51.014" v="498" actId="208"/>
          <ac:graphicFrameMkLst>
            <pc:docMk/>
            <pc:sldMk cId="3200755068" sldId="2147469927"/>
            <ac:graphicFrameMk id="4" creationId="{3D22A1C5-00A9-C89D-AAD2-6D1A9F6618F9}"/>
          </ac:graphicFrameMkLst>
        </pc:graphicFrameChg>
      </pc:sldChg>
      <pc:sldChg chg="add del modNotes">
        <pc:chgData name="Brianna Lien" userId="f3b5815a-0702-414c-9464-ffb25822869a" providerId="ADAL" clId="{524229EB-1587-46F9-A145-DABF08C02510}" dt="2024-06-06T12:59:05.901" v="19" actId="47"/>
        <pc:sldMkLst>
          <pc:docMk/>
          <pc:sldMk cId="2698767485" sldId="2147469928"/>
        </pc:sldMkLst>
      </pc:sldChg>
      <pc:sldChg chg="modSp add mod">
        <pc:chgData name="Brianna Lien" userId="f3b5815a-0702-414c-9464-ffb25822869a" providerId="ADAL" clId="{524229EB-1587-46F9-A145-DABF08C02510}" dt="2024-06-06T14:01:16.656" v="430" actId="20577"/>
        <pc:sldMkLst>
          <pc:docMk/>
          <pc:sldMk cId="1704104141" sldId="2147469933"/>
        </pc:sldMkLst>
        <pc:spChg chg="mod">
          <ac:chgData name="Brianna Lien" userId="f3b5815a-0702-414c-9464-ffb25822869a" providerId="ADAL" clId="{524229EB-1587-46F9-A145-DABF08C02510}" dt="2024-06-06T13:16:56.124" v="111" actId="20577"/>
          <ac:spMkLst>
            <pc:docMk/>
            <pc:sldMk cId="1704104141" sldId="2147469933"/>
            <ac:spMk id="3" creationId="{9D358CC8-C8C0-5E0C-A64F-B99E8EAAB3BD}"/>
          </ac:spMkLst>
        </pc:spChg>
        <pc:spChg chg="mod">
          <ac:chgData name="Brianna Lien" userId="f3b5815a-0702-414c-9464-ffb25822869a" providerId="ADAL" clId="{524229EB-1587-46F9-A145-DABF08C02510}" dt="2024-06-06T14:01:16.656" v="430" actId="20577"/>
          <ac:spMkLst>
            <pc:docMk/>
            <pc:sldMk cId="1704104141" sldId="2147469933"/>
            <ac:spMk id="49" creationId="{1ED2805F-D526-37CC-1DA0-FCBC243767C7}"/>
          </ac:spMkLst>
        </pc:spChg>
      </pc:sldChg>
      <pc:sldChg chg="addSp delSp modSp mod modClrScheme chgLayout">
        <pc:chgData name="Brianna Lien" userId="f3b5815a-0702-414c-9464-ffb25822869a" providerId="ADAL" clId="{524229EB-1587-46F9-A145-DABF08C02510}" dt="2024-06-06T13:33:21.567" v="208" actId="20577"/>
        <pc:sldMkLst>
          <pc:docMk/>
          <pc:sldMk cId="788865827" sldId="2147476245"/>
        </pc:sldMkLst>
        <pc:spChg chg="mod ord">
          <ac:chgData name="Brianna Lien" userId="f3b5815a-0702-414c-9464-ffb25822869a" providerId="ADAL" clId="{524229EB-1587-46F9-A145-DABF08C02510}" dt="2024-06-06T13:33:12.765" v="206" actId="20577"/>
          <ac:spMkLst>
            <pc:docMk/>
            <pc:sldMk cId="788865827" sldId="2147476245"/>
            <ac:spMk id="4" creationId="{325A9281-52EC-BF4E-7486-C1D09131C1FA}"/>
          </ac:spMkLst>
        </pc:spChg>
        <pc:spChg chg="del mod ord">
          <ac:chgData name="Brianna Lien" userId="f3b5815a-0702-414c-9464-ffb25822869a" providerId="ADAL" clId="{524229EB-1587-46F9-A145-DABF08C02510}" dt="2024-06-06T13:01:24.907" v="33" actId="478"/>
          <ac:spMkLst>
            <pc:docMk/>
            <pc:sldMk cId="788865827" sldId="2147476245"/>
            <ac:spMk id="5" creationId="{3B93A148-01AD-F37C-329B-11885FD2AE37}"/>
          </ac:spMkLst>
        </pc:spChg>
        <pc:spChg chg="mod ord">
          <ac:chgData name="Brianna Lien" userId="f3b5815a-0702-414c-9464-ffb25822869a" providerId="ADAL" clId="{524229EB-1587-46F9-A145-DABF08C02510}" dt="2024-06-06T13:33:21.567" v="208" actId="20577"/>
          <ac:spMkLst>
            <pc:docMk/>
            <pc:sldMk cId="788865827" sldId="2147476245"/>
            <ac:spMk id="9" creationId="{5CA62B83-C6CE-B97C-20E2-21D656C40096}"/>
          </ac:spMkLst>
        </pc:spChg>
        <pc:picChg chg="add mod">
          <ac:chgData name="Brianna Lien" userId="f3b5815a-0702-414c-9464-ffb25822869a" providerId="ADAL" clId="{524229EB-1587-46F9-A145-DABF08C02510}" dt="2024-06-06T13:01:11.323" v="32"/>
          <ac:picMkLst>
            <pc:docMk/>
            <pc:sldMk cId="788865827" sldId="2147476245"/>
            <ac:picMk id="2" creationId="{ED2056FF-37C5-DC41-2858-164BA1ACCE48}"/>
          </ac:picMkLst>
        </pc:picChg>
      </pc:sldChg>
      <pc:sldChg chg="addSp delSp modSp mod modClrScheme chgLayout">
        <pc:chgData name="Brianna Lien" userId="f3b5815a-0702-414c-9464-ffb25822869a" providerId="ADAL" clId="{524229EB-1587-46F9-A145-DABF08C02510}" dt="2024-06-06T14:02:06.146" v="437"/>
        <pc:sldMkLst>
          <pc:docMk/>
          <pc:sldMk cId="4196050619" sldId="2147476246"/>
        </pc:sldMkLst>
        <pc:spChg chg="mod ord">
          <ac:chgData name="Brianna Lien" userId="f3b5815a-0702-414c-9464-ffb25822869a" providerId="ADAL" clId="{524229EB-1587-46F9-A145-DABF08C02510}" dt="2024-06-06T13:37:15.191" v="236" actId="2710"/>
          <ac:spMkLst>
            <pc:docMk/>
            <pc:sldMk cId="4196050619" sldId="2147476246"/>
            <ac:spMk id="2" creationId="{BBC5BA38-FFB0-443A-B40E-7511398C2ED8}"/>
          </ac:spMkLst>
        </pc:spChg>
        <pc:spChg chg="mod ord">
          <ac:chgData name="Brianna Lien" userId="f3b5815a-0702-414c-9464-ffb25822869a" providerId="ADAL" clId="{524229EB-1587-46F9-A145-DABF08C02510}" dt="2024-06-06T13:39:45.465" v="253" actId="20577"/>
          <ac:spMkLst>
            <pc:docMk/>
            <pc:sldMk cId="4196050619" sldId="2147476246"/>
            <ac:spMk id="3" creationId="{5D0C7BCE-C110-AA67-C33A-18351558D934}"/>
          </ac:spMkLst>
        </pc:spChg>
        <pc:spChg chg="add del mod ord">
          <ac:chgData name="Brianna Lien" userId="f3b5815a-0702-414c-9464-ffb25822869a" providerId="ADAL" clId="{524229EB-1587-46F9-A145-DABF08C02510}" dt="2024-06-06T13:09:59.174" v="80" actId="478"/>
          <ac:spMkLst>
            <pc:docMk/>
            <pc:sldMk cId="4196050619" sldId="2147476246"/>
            <ac:spMk id="5" creationId="{33D35FDD-4557-A86F-60CD-665321ECDD76}"/>
          </ac:spMkLst>
        </pc:spChg>
        <pc:spChg chg="mod">
          <ac:chgData name="Brianna Lien" userId="f3b5815a-0702-414c-9464-ffb25822869a" providerId="ADAL" clId="{524229EB-1587-46F9-A145-DABF08C02510}" dt="2024-06-06T13:40:16.070" v="267" actId="14100"/>
          <ac:spMkLst>
            <pc:docMk/>
            <pc:sldMk cId="4196050619" sldId="2147476246"/>
            <ac:spMk id="12" creationId="{96A7B586-68BC-ED77-CC4A-81C9CD82890F}"/>
          </ac:spMkLst>
        </pc:spChg>
        <pc:spChg chg="mod ord">
          <ac:chgData name="Brianna Lien" userId="f3b5815a-0702-414c-9464-ffb25822869a" providerId="ADAL" clId="{524229EB-1587-46F9-A145-DABF08C02510}" dt="2024-06-06T13:37:30.741" v="237" actId="6549"/>
          <ac:spMkLst>
            <pc:docMk/>
            <pc:sldMk cId="4196050619" sldId="2147476246"/>
            <ac:spMk id="13" creationId="{0FE8DC38-C13B-AB8C-62B7-0B16BCEF4CA5}"/>
          </ac:spMkLst>
        </pc:spChg>
        <pc:picChg chg="add mod">
          <ac:chgData name="Brianna Lien" userId="f3b5815a-0702-414c-9464-ffb25822869a" providerId="ADAL" clId="{524229EB-1587-46F9-A145-DABF08C02510}" dt="2024-06-06T14:02:06.146" v="437"/>
          <ac:picMkLst>
            <pc:docMk/>
            <pc:sldMk cId="4196050619" sldId="2147476246"/>
            <ac:picMk id="4" creationId="{192884DB-09EF-F3CC-59D0-929D6891D27A}"/>
          </ac:picMkLst>
        </pc:picChg>
        <pc:picChg chg="mod">
          <ac:chgData name="Brianna Lien" userId="f3b5815a-0702-414c-9464-ffb25822869a" providerId="ADAL" clId="{524229EB-1587-46F9-A145-DABF08C02510}" dt="2024-06-06T13:40:04.095" v="262" actId="1037"/>
          <ac:picMkLst>
            <pc:docMk/>
            <pc:sldMk cId="4196050619" sldId="2147476246"/>
            <ac:picMk id="18" creationId="{DF9EE633-AF7F-AF6E-1C09-38302E6F9C25}"/>
          </ac:picMkLst>
        </pc:picChg>
        <pc:picChg chg="mod">
          <ac:chgData name="Brianna Lien" userId="f3b5815a-0702-414c-9464-ffb25822869a" providerId="ADAL" clId="{524229EB-1587-46F9-A145-DABF08C02510}" dt="2024-06-06T13:40:07.890" v="265" actId="1037"/>
          <ac:picMkLst>
            <pc:docMk/>
            <pc:sldMk cId="4196050619" sldId="2147476246"/>
            <ac:picMk id="21" creationId="{D8102E36-EA83-60A1-45A1-6EE500A36CF7}"/>
          </ac:picMkLst>
        </pc:picChg>
      </pc:sldChg>
      <pc:sldChg chg="addSp delSp modSp mod modClrScheme chgLayout">
        <pc:chgData name="Brianna Lien" userId="f3b5815a-0702-414c-9464-ffb25822869a" providerId="ADAL" clId="{524229EB-1587-46F9-A145-DABF08C02510}" dt="2024-06-06T14:02:36.498" v="442"/>
        <pc:sldMkLst>
          <pc:docMk/>
          <pc:sldMk cId="1361454132" sldId="2147476247"/>
        </pc:sldMkLst>
        <pc:spChg chg="mod ord">
          <ac:chgData name="Brianna Lien" userId="f3b5815a-0702-414c-9464-ffb25822869a" providerId="ADAL" clId="{524229EB-1587-46F9-A145-DABF08C02510}" dt="2024-06-06T13:12:02.566" v="95" actId="700"/>
          <ac:spMkLst>
            <pc:docMk/>
            <pc:sldMk cId="1361454132" sldId="2147476247"/>
            <ac:spMk id="2" creationId="{BBC5BA38-FFB0-443A-B40E-7511398C2ED8}"/>
          </ac:spMkLst>
        </pc:spChg>
        <pc:spChg chg="mod ord">
          <ac:chgData name="Brianna Lien" userId="f3b5815a-0702-414c-9464-ffb25822869a" providerId="ADAL" clId="{524229EB-1587-46F9-A145-DABF08C02510}" dt="2024-06-06T13:42:02.850" v="276" actId="20577"/>
          <ac:spMkLst>
            <pc:docMk/>
            <pc:sldMk cId="1361454132" sldId="2147476247"/>
            <ac:spMk id="5" creationId="{E70F52E1-0DA6-8D50-3336-469562D0635B}"/>
          </ac:spMkLst>
        </pc:spChg>
        <pc:spChg chg="del mod ord">
          <ac:chgData name="Brianna Lien" userId="f3b5815a-0702-414c-9464-ffb25822869a" providerId="ADAL" clId="{524229EB-1587-46F9-A145-DABF08C02510}" dt="2024-06-06T13:12:07.316" v="97" actId="478"/>
          <ac:spMkLst>
            <pc:docMk/>
            <pc:sldMk cId="1361454132" sldId="2147476247"/>
            <ac:spMk id="6" creationId="{D66E18B5-4B10-4187-FCF2-C7495DA00499}"/>
          </ac:spMkLst>
        </pc:spChg>
        <pc:spChg chg="mod">
          <ac:chgData name="Brianna Lien" userId="f3b5815a-0702-414c-9464-ffb25822869a" providerId="ADAL" clId="{524229EB-1587-46F9-A145-DABF08C02510}" dt="2024-06-06T13:41:54.398" v="275" actId="12"/>
          <ac:spMkLst>
            <pc:docMk/>
            <pc:sldMk cId="1361454132" sldId="2147476247"/>
            <ac:spMk id="8" creationId="{AF0E4D8E-3A8E-A5DD-FF4D-6D4475133D8E}"/>
          </ac:spMkLst>
        </pc:spChg>
        <pc:spChg chg="mod ord">
          <ac:chgData name="Brianna Lien" userId="f3b5815a-0702-414c-9464-ffb25822869a" providerId="ADAL" clId="{524229EB-1587-46F9-A145-DABF08C02510}" dt="2024-06-06T13:41:13.687" v="272" actId="20577"/>
          <ac:spMkLst>
            <pc:docMk/>
            <pc:sldMk cId="1361454132" sldId="2147476247"/>
            <ac:spMk id="11" creationId="{E7AA028E-DAF8-903B-1D26-812846830BAC}"/>
          </ac:spMkLst>
        </pc:spChg>
        <pc:spChg chg="mod">
          <ac:chgData name="Brianna Lien" userId="f3b5815a-0702-414c-9464-ffb25822869a" providerId="ADAL" clId="{524229EB-1587-46F9-A145-DABF08C02510}" dt="2024-06-06T13:41:19.041" v="273" actId="207"/>
          <ac:spMkLst>
            <pc:docMk/>
            <pc:sldMk cId="1361454132" sldId="2147476247"/>
            <ac:spMk id="12" creationId="{96A7B586-68BC-ED77-CC4A-81C9CD82890F}"/>
          </ac:spMkLst>
        </pc:spChg>
        <pc:picChg chg="add mod">
          <ac:chgData name="Brianna Lien" userId="f3b5815a-0702-414c-9464-ffb25822869a" providerId="ADAL" clId="{524229EB-1587-46F9-A145-DABF08C02510}" dt="2024-06-06T14:02:36.498" v="442"/>
          <ac:picMkLst>
            <pc:docMk/>
            <pc:sldMk cId="1361454132" sldId="2147476247"/>
            <ac:picMk id="3" creationId="{B154B143-975E-B984-ACCA-4994A0F09C50}"/>
          </ac:picMkLst>
        </pc:picChg>
      </pc:sldChg>
      <pc:sldChg chg="addSp delSp modSp mod modClrScheme chgLayout">
        <pc:chgData name="Brianna Lien" userId="f3b5815a-0702-414c-9464-ffb25822869a" providerId="ADAL" clId="{524229EB-1587-46F9-A145-DABF08C02510}" dt="2024-06-06T14:03:16.791" v="450"/>
        <pc:sldMkLst>
          <pc:docMk/>
          <pc:sldMk cId="2471481162" sldId="2147476251"/>
        </pc:sldMkLst>
        <pc:spChg chg="del mod ord">
          <ac:chgData name="Brianna Lien" userId="f3b5815a-0702-414c-9464-ffb25822869a" providerId="ADAL" clId="{524229EB-1587-46F9-A145-DABF08C02510}" dt="2024-06-06T13:27:51.649" v="173" actId="478"/>
          <ac:spMkLst>
            <pc:docMk/>
            <pc:sldMk cId="2471481162" sldId="2147476251"/>
            <ac:spMk id="6" creationId="{C5E706C1-1D1B-B33E-8B81-BB5039497696}"/>
          </ac:spMkLst>
        </pc:spChg>
        <pc:spChg chg="mod">
          <ac:chgData name="Brianna Lien" userId="f3b5815a-0702-414c-9464-ffb25822869a" providerId="ADAL" clId="{524229EB-1587-46F9-A145-DABF08C02510}" dt="2024-06-06T13:26:48.090" v="171" actId="20577"/>
          <ac:spMkLst>
            <pc:docMk/>
            <pc:sldMk cId="2471481162" sldId="2147476251"/>
            <ac:spMk id="9" creationId="{16ED3C4E-FC87-2799-3C4F-B7A4A2101F0D}"/>
          </ac:spMkLst>
        </pc:spChg>
        <pc:spChg chg="mod ord">
          <ac:chgData name="Brianna Lien" userId="f3b5815a-0702-414c-9464-ffb25822869a" providerId="ADAL" clId="{524229EB-1587-46F9-A145-DABF08C02510}" dt="2024-06-06T13:27:56.433" v="174" actId="255"/>
          <ac:spMkLst>
            <pc:docMk/>
            <pc:sldMk cId="2471481162" sldId="2147476251"/>
            <ac:spMk id="11" creationId="{6C36412C-6F49-93C2-FC18-D2904ED12950}"/>
          </ac:spMkLst>
        </pc:spChg>
        <pc:picChg chg="add mod">
          <ac:chgData name="Brianna Lien" userId="f3b5815a-0702-414c-9464-ffb25822869a" providerId="ADAL" clId="{524229EB-1587-46F9-A145-DABF08C02510}" dt="2024-06-06T14:03:16.791" v="450"/>
          <ac:picMkLst>
            <pc:docMk/>
            <pc:sldMk cId="2471481162" sldId="2147476251"/>
            <ac:picMk id="3" creationId="{4F79D1B2-90AF-7683-2534-A86C044F9079}"/>
          </ac:picMkLst>
        </pc:picChg>
      </pc:sldChg>
      <pc:sldChg chg="addSp modSp mod modClrScheme chgLayout">
        <pc:chgData name="Brianna Lien" userId="f3b5815a-0702-414c-9464-ffb25822869a" providerId="ADAL" clId="{524229EB-1587-46F9-A145-DABF08C02510}" dt="2024-06-06T13:32:46.107" v="199" actId="20577"/>
        <pc:sldMkLst>
          <pc:docMk/>
          <pc:sldMk cId="594250820" sldId="2147476253"/>
        </pc:sldMkLst>
        <pc:spChg chg="mod ord">
          <ac:chgData name="Brianna Lien" userId="f3b5815a-0702-414c-9464-ffb25822869a" providerId="ADAL" clId="{524229EB-1587-46F9-A145-DABF08C02510}" dt="2024-06-06T13:00:32.035" v="27" actId="255"/>
          <ac:spMkLst>
            <pc:docMk/>
            <pc:sldMk cId="594250820" sldId="2147476253"/>
            <ac:spMk id="3" creationId="{8E4871AF-4F7A-0A5B-D8C3-B595E814868E}"/>
          </ac:spMkLst>
        </pc:spChg>
        <pc:spChg chg="mod">
          <ac:chgData name="Brianna Lien" userId="f3b5815a-0702-414c-9464-ffb25822869a" providerId="ADAL" clId="{524229EB-1587-46F9-A145-DABF08C02510}" dt="2024-06-06T13:32:46.107" v="199" actId="20577"/>
          <ac:spMkLst>
            <pc:docMk/>
            <pc:sldMk cId="594250820" sldId="2147476253"/>
            <ac:spMk id="17" creationId="{745921AF-9187-B560-17A9-6D98511C3E8E}"/>
          </ac:spMkLst>
        </pc:spChg>
        <pc:picChg chg="add mod">
          <ac:chgData name="Brianna Lien" userId="f3b5815a-0702-414c-9464-ffb25822869a" providerId="ADAL" clId="{524229EB-1587-46F9-A145-DABF08C02510}" dt="2024-06-06T13:00:40.395" v="28"/>
          <ac:picMkLst>
            <pc:docMk/>
            <pc:sldMk cId="594250820" sldId="2147476253"/>
            <ac:picMk id="2" creationId="{AE2DD5CE-73AC-360F-933F-60640AB7887D}"/>
          </ac:picMkLst>
        </pc:picChg>
      </pc:sldChg>
      <pc:sldChg chg="addSp delSp modSp mod modClrScheme chgLayout">
        <pc:chgData name="Brianna Lien" userId="f3b5815a-0702-414c-9464-ffb25822869a" providerId="ADAL" clId="{524229EB-1587-46F9-A145-DABF08C02510}" dt="2024-06-06T14:02:01.997" v="436"/>
        <pc:sldMkLst>
          <pc:docMk/>
          <pc:sldMk cId="2518584562" sldId="2147476254"/>
        </pc:sldMkLst>
        <pc:spChg chg="mod ord">
          <ac:chgData name="Brianna Lien" userId="f3b5815a-0702-414c-9464-ffb25822869a" providerId="ADAL" clId="{524229EB-1587-46F9-A145-DABF08C02510}" dt="2024-06-06T14:01:36.407" v="431" actId="14100"/>
          <ac:spMkLst>
            <pc:docMk/>
            <pc:sldMk cId="2518584562" sldId="2147476254"/>
            <ac:spMk id="2" creationId="{E373CB3F-9B45-F4CE-ACA2-DC4D655A6829}"/>
          </ac:spMkLst>
        </pc:spChg>
        <pc:spChg chg="mod ord">
          <ac:chgData name="Brianna Lien" userId="f3b5815a-0702-414c-9464-ffb25822869a" providerId="ADAL" clId="{524229EB-1587-46F9-A145-DABF08C02510}" dt="2024-06-06T13:38:31.081" v="245" actId="20577"/>
          <ac:spMkLst>
            <pc:docMk/>
            <pc:sldMk cId="2518584562" sldId="2147476254"/>
            <ac:spMk id="4" creationId="{5FB1B7C2-8FBD-CAE6-DC7C-BCC9A7205D97}"/>
          </ac:spMkLst>
        </pc:spChg>
        <pc:spChg chg="del mod ord">
          <ac:chgData name="Brianna Lien" userId="f3b5815a-0702-414c-9464-ffb25822869a" providerId="ADAL" clId="{524229EB-1587-46F9-A145-DABF08C02510}" dt="2024-06-06T13:06:33.258" v="53" actId="478"/>
          <ac:spMkLst>
            <pc:docMk/>
            <pc:sldMk cId="2518584562" sldId="2147476254"/>
            <ac:spMk id="5" creationId="{62916A73-AF9C-74BE-35F3-8577102FFFFA}"/>
          </ac:spMkLst>
        </pc:spChg>
        <pc:spChg chg="mod ord">
          <ac:chgData name="Brianna Lien" userId="f3b5815a-0702-414c-9464-ffb25822869a" providerId="ADAL" clId="{524229EB-1587-46F9-A145-DABF08C02510}" dt="2024-06-06T13:34:39.514" v="213" actId="20577"/>
          <ac:spMkLst>
            <pc:docMk/>
            <pc:sldMk cId="2518584562" sldId="2147476254"/>
            <ac:spMk id="9" creationId="{08A8188A-4F80-9E95-5E53-38906BD88642}"/>
          </ac:spMkLst>
        </pc:spChg>
        <pc:spChg chg="mod">
          <ac:chgData name="Brianna Lien" userId="f3b5815a-0702-414c-9464-ffb25822869a" providerId="ADAL" clId="{524229EB-1587-46F9-A145-DABF08C02510}" dt="2024-06-06T14:01:44.237" v="433" actId="1076"/>
          <ac:spMkLst>
            <pc:docMk/>
            <pc:sldMk cId="2518584562" sldId="2147476254"/>
            <ac:spMk id="12" creationId="{25F3398D-D0BC-2E4A-780D-2545145AE156}"/>
          </ac:spMkLst>
        </pc:spChg>
        <pc:picChg chg="add mod">
          <ac:chgData name="Brianna Lien" userId="f3b5815a-0702-414c-9464-ffb25822869a" providerId="ADAL" clId="{524229EB-1587-46F9-A145-DABF08C02510}" dt="2024-06-06T14:02:01.997" v="436"/>
          <ac:picMkLst>
            <pc:docMk/>
            <pc:sldMk cId="2518584562" sldId="2147476254"/>
            <ac:picMk id="3" creationId="{267B101A-4CD2-7952-1451-9E373FFEA303}"/>
          </ac:picMkLst>
        </pc:picChg>
        <pc:picChg chg="mod">
          <ac:chgData name="Brianna Lien" userId="f3b5815a-0702-414c-9464-ffb25822869a" providerId="ADAL" clId="{524229EB-1587-46F9-A145-DABF08C02510}" dt="2024-06-06T14:01:39.930" v="432" actId="1076"/>
          <ac:picMkLst>
            <pc:docMk/>
            <pc:sldMk cId="2518584562" sldId="2147476254"/>
            <ac:picMk id="15" creationId="{DE408F40-B140-33DC-5BD6-DE9F81AEB232}"/>
          </ac:picMkLst>
        </pc:picChg>
      </pc:sldChg>
      <pc:sldChg chg="addSp modSp mod modClrScheme chgLayout">
        <pc:chgData name="Brianna Lien" userId="f3b5815a-0702-414c-9464-ffb25822869a" providerId="ADAL" clId="{524229EB-1587-46F9-A145-DABF08C02510}" dt="2024-06-06T14:02:46.892" v="443"/>
        <pc:sldMkLst>
          <pc:docMk/>
          <pc:sldMk cId="3078018423" sldId="2147476255"/>
        </pc:sldMkLst>
        <pc:spChg chg="mod">
          <ac:chgData name="Brianna Lien" userId="f3b5815a-0702-414c-9464-ffb25822869a" providerId="ADAL" clId="{524229EB-1587-46F9-A145-DABF08C02510}" dt="2024-06-06T13:42:27.011" v="279" actId="1076"/>
          <ac:spMkLst>
            <pc:docMk/>
            <pc:sldMk cId="3078018423" sldId="2147476255"/>
            <ac:spMk id="23" creationId="{E1FC56DB-9C53-B332-772C-0AE7003C0B2D}"/>
          </ac:spMkLst>
        </pc:spChg>
        <pc:spChg chg="mod ord">
          <ac:chgData name="Brianna Lien" userId="f3b5815a-0702-414c-9464-ffb25822869a" providerId="ADAL" clId="{524229EB-1587-46F9-A145-DABF08C02510}" dt="2024-06-06T13:42:45.225" v="280" actId="20577"/>
          <ac:spMkLst>
            <pc:docMk/>
            <pc:sldMk cId="3078018423" sldId="2147476255"/>
            <ac:spMk id="31" creationId="{B16C0288-AD32-EAC2-186D-A431F47339AF}"/>
          </ac:spMkLst>
        </pc:spChg>
        <pc:picChg chg="add mod">
          <ac:chgData name="Brianna Lien" userId="f3b5815a-0702-414c-9464-ffb25822869a" providerId="ADAL" clId="{524229EB-1587-46F9-A145-DABF08C02510}" dt="2024-06-06T14:02:46.892" v="443"/>
          <ac:picMkLst>
            <pc:docMk/>
            <pc:sldMk cId="3078018423" sldId="2147476255"/>
            <ac:picMk id="2" creationId="{1F079B7D-2EE1-1343-77E8-265C410F48E2}"/>
          </ac:picMkLst>
        </pc:picChg>
      </pc:sldChg>
      <pc:sldChg chg="addSp modSp mod modClrScheme chgLayout">
        <pc:chgData name="Brianna Lien" userId="f3b5815a-0702-414c-9464-ffb25822869a" providerId="ADAL" clId="{524229EB-1587-46F9-A145-DABF08C02510}" dt="2024-06-06T14:02:18.167" v="439"/>
        <pc:sldMkLst>
          <pc:docMk/>
          <pc:sldMk cId="1398523371" sldId="2147476256"/>
        </pc:sldMkLst>
        <pc:spChg chg="mod">
          <ac:chgData name="Brianna Lien" userId="f3b5815a-0702-414c-9464-ffb25822869a" providerId="ADAL" clId="{524229EB-1587-46F9-A145-DABF08C02510}" dt="2024-06-06T14:02:16.655" v="438" actId="1076"/>
          <ac:spMkLst>
            <pc:docMk/>
            <pc:sldMk cId="1398523371" sldId="2147476256"/>
            <ac:spMk id="6" creationId="{10E53BC0-8BB2-1175-5FEF-CD4F39C89248}"/>
          </ac:spMkLst>
        </pc:spChg>
        <pc:spChg chg="mod">
          <ac:chgData name="Brianna Lien" userId="f3b5815a-0702-414c-9464-ffb25822869a" providerId="ADAL" clId="{524229EB-1587-46F9-A145-DABF08C02510}" dt="2024-06-06T13:40:22.992" v="269" actId="20577"/>
          <ac:spMkLst>
            <pc:docMk/>
            <pc:sldMk cId="1398523371" sldId="2147476256"/>
            <ac:spMk id="23" creationId="{C6BE13E5-B569-38FC-B450-56E027DD8062}"/>
          </ac:spMkLst>
        </pc:spChg>
        <pc:spChg chg="mod ord">
          <ac:chgData name="Brianna Lien" userId="f3b5815a-0702-414c-9464-ffb25822869a" providerId="ADAL" clId="{524229EB-1587-46F9-A145-DABF08C02510}" dt="2024-06-06T13:36:02.819" v="228" actId="255"/>
          <ac:spMkLst>
            <pc:docMk/>
            <pc:sldMk cId="1398523371" sldId="2147476256"/>
            <ac:spMk id="31" creationId="{97001DE4-0BEB-0B6A-F5E6-323851116298}"/>
          </ac:spMkLst>
        </pc:spChg>
        <pc:picChg chg="add mod">
          <ac:chgData name="Brianna Lien" userId="f3b5815a-0702-414c-9464-ffb25822869a" providerId="ADAL" clId="{524229EB-1587-46F9-A145-DABF08C02510}" dt="2024-06-06T14:02:18.167" v="439"/>
          <ac:picMkLst>
            <pc:docMk/>
            <pc:sldMk cId="1398523371" sldId="2147476256"/>
            <ac:picMk id="2" creationId="{FABDD1F1-BAFD-0527-CC67-3879573FD9CE}"/>
          </ac:picMkLst>
        </pc:picChg>
      </pc:sldChg>
      <pc:sldChg chg="addSp modSp mod modClrScheme chgLayout">
        <pc:chgData name="Brianna Lien" userId="f3b5815a-0702-414c-9464-ffb25822869a" providerId="ADAL" clId="{524229EB-1587-46F9-A145-DABF08C02510}" dt="2024-06-06T14:03:03.796" v="447"/>
        <pc:sldMkLst>
          <pc:docMk/>
          <pc:sldMk cId="4057213281" sldId="2147476257"/>
        </pc:sldMkLst>
        <pc:spChg chg="mod">
          <ac:chgData name="Brianna Lien" userId="f3b5815a-0702-414c-9464-ffb25822869a" providerId="ADAL" clId="{524229EB-1587-46F9-A145-DABF08C02510}" dt="2024-06-06T14:03:02.184" v="446" actId="123"/>
          <ac:spMkLst>
            <pc:docMk/>
            <pc:sldMk cId="4057213281" sldId="2147476257"/>
            <ac:spMk id="6" creationId="{A7525C8F-C0BE-AD67-E98F-20B24A1F8CD8}"/>
          </ac:spMkLst>
        </pc:spChg>
        <pc:spChg chg="mod">
          <ac:chgData name="Brianna Lien" userId="f3b5815a-0702-414c-9464-ffb25822869a" providerId="ADAL" clId="{524229EB-1587-46F9-A145-DABF08C02510}" dt="2024-06-06T13:44:23.247" v="317" actId="20577"/>
          <ac:spMkLst>
            <pc:docMk/>
            <pc:sldMk cId="4057213281" sldId="2147476257"/>
            <ac:spMk id="23" creationId="{3CC83B70-DF18-2BA0-142B-FF7B179F8CC1}"/>
          </ac:spMkLst>
        </pc:spChg>
        <pc:spChg chg="mod ord">
          <ac:chgData name="Brianna Lien" userId="f3b5815a-0702-414c-9464-ffb25822869a" providerId="ADAL" clId="{524229EB-1587-46F9-A145-DABF08C02510}" dt="2024-06-06T13:30:46.754" v="188" actId="14100"/>
          <ac:spMkLst>
            <pc:docMk/>
            <pc:sldMk cId="4057213281" sldId="2147476257"/>
            <ac:spMk id="31" creationId="{ED71501D-EF17-65E8-4AFA-61FDCDC858AF}"/>
          </ac:spMkLst>
        </pc:spChg>
        <pc:picChg chg="add mod">
          <ac:chgData name="Brianna Lien" userId="f3b5815a-0702-414c-9464-ffb25822869a" providerId="ADAL" clId="{524229EB-1587-46F9-A145-DABF08C02510}" dt="2024-06-06T14:03:03.796" v="447"/>
          <ac:picMkLst>
            <pc:docMk/>
            <pc:sldMk cId="4057213281" sldId="2147476257"/>
            <ac:picMk id="2" creationId="{A79588CE-88EA-123F-683C-51B9C349623F}"/>
          </ac:picMkLst>
        </pc:picChg>
        <pc:picChg chg="mod modCrop">
          <ac:chgData name="Brianna Lien" userId="f3b5815a-0702-414c-9464-ffb25822869a" providerId="ADAL" clId="{524229EB-1587-46F9-A145-DABF08C02510}" dt="2024-06-06T13:44:11.167" v="313" actId="1035"/>
          <ac:picMkLst>
            <pc:docMk/>
            <pc:sldMk cId="4057213281" sldId="2147476257"/>
            <ac:picMk id="4" creationId="{E1C585BE-1177-2BD8-5BCA-487D3F5E5854}"/>
          </ac:picMkLst>
        </pc:picChg>
      </pc:sldChg>
      <pc:sldChg chg="addSp modSp mod modClrScheme chgLayout">
        <pc:chgData name="Brianna Lien" userId="f3b5815a-0702-414c-9464-ffb25822869a" providerId="ADAL" clId="{524229EB-1587-46F9-A145-DABF08C02510}" dt="2024-06-06T14:02:55.246" v="445" actId="123"/>
        <pc:sldMkLst>
          <pc:docMk/>
          <pc:sldMk cId="368015195" sldId="2147476258"/>
        </pc:sldMkLst>
        <pc:spChg chg="mod">
          <ac:chgData name="Brianna Lien" userId="f3b5815a-0702-414c-9464-ffb25822869a" providerId="ADAL" clId="{524229EB-1587-46F9-A145-DABF08C02510}" dt="2024-06-06T14:02:55.246" v="445" actId="123"/>
          <ac:spMkLst>
            <pc:docMk/>
            <pc:sldMk cId="368015195" sldId="2147476258"/>
            <ac:spMk id="6" creationId="{CA9588BF-0D67-9E31-E096-198F0B00F22C}"/>
          </ac:spMkLst>
        </pc:spChg>
        <pc:spChg chg="mod">
          <ac:chgData name="Brianna Lien" userId="f3b5815a-0702-414c-9464-ffb25822869a" providerId="ADAL" clId="{524229EB-1587-46F9-A145-DABF08C02510}" dt="2024-06-06T13:43:48.984" v="289" actId="1076"/>
          <ac:spMkLst>
            <pc:docMk/>
            <pc:sldMk cId="368015195" sldId="2147476258"/>
            <ac:spMk id="23" creationId="{9FED8205-E328-3228-8AAA-91D06CF954E0}"/>
          </ac:spMkLst>
        </pc:spChg>
        <pc:spChg chg="mod ord">
          <ac:chgData name="Brianna Lien" userId="f3b5815a-0702-414c-9464-ffb25822869a" providerId="ADAL" clId="{524229EB-1587-46F9-A145-DABF08C02510}" dt="2024-06-06T13:30:29.962" v="185" actId="255"/>
          <ac:spMkLst>
            <pc:docMk/>
            <pc:sldMk cId="368015195" sldId="2147476258"/>
            <ac:spMk id="31" creationId="{AC764F7D-529C-311D-DBA6-BF182EA1952A}"/>
          </ac:spMkLst>
        </pc:spChg>
        <pc:picChg chg="add mod">
          <ac:chgData name="Brianna Lien" userId="f3b5815a-0702-414c-9464-ffb25822869a" providerId="ADAL" clId="{524229EB-1587-46F9-A145-DABF08C02510}" dt="2024-06-06T14:02:51.387" v="444"/>
          <ac:picMkLst>
            <pc:docMk/>
            <pc:sldMk cId="368015195" sldId="2147476258"/>
            <ac:picMk id="2" creationId="{9F4A35C5-88B1-DC2E-6DF7-C9AA8739E2BB}"/>
          </ac:picMkLst>
        </pc:picChg>
        <pc:picChg chg="mod modCrop">
          <ac:chgData name="Brianna Lien" userId="f3b5815a-0702-414c-9464-ffb25822869a" providerId="ADAL" clId="{524229EB-1587-46F9-A145-DABF08C02510}" dt="2024-06-06T13:43:42.305" v="287" actId="1076"/>
          <ac:picMkLst>
            <pc:docMk/>
            <pc:sldMk cId="368015195" sldId="2147476258"/>
            <ac:picMk id="3" creationId="{3A5D5731-A982-4FCD-8337-0E61AFFBF222}"/>
          </ac:picMkLst>
        </pc:picChg>
      </pc:sldChg>
      <pc:sldChg chg="addSp modSp mod modClrScheme chgLayout">
        <pc:chgData name="Brianna Lien" userId="f3b5815a-0702-414c-9464-ffb25822869a" providerId="ADAL" clId="{524229EB-1587-46F9-A145-DABF08C02510}" dt="2024-06-07T09:10:18.881" v="503" actId="20577"/>
        <pc:sldMkLst>
          <pc:docMk/>
          <pc:sldMk cId="3224473945" sldId="2147476259"/>
        </pc:sldMkLst>
        <pc:spChg chg="mod">
          <ac:chgData name="Brianna Lien" userId="f3b5815a-0702-414c-9464-ffb25822869a" providerId="ADAL" clId="{524229EB-1587-46F9-A145-DABF08C02510}" dt="2024-06-07T09:10:18.881" v="503" actId="20577"/>
          <ac:spMkLst>
            <pc:docMk/>
            <pc:sldMk cId="3224473945" sldId="2147476259"/>
            <ac:spMk id="23" creationId="{9B7A776C-47CB-4FC8-8D5F-45CE0015C266}"/>
          </ac:spMkLst>
        </pc:spChg>
        <pc:spChg chg="mod ord">
          <ac:chgData name="Brianna Lien" userId="f3b5815a-0702-414c-9464-ffb25822869a" providerId="ADAL" clId="{524229EB-1587-46F9-A145-DABF08C02510}" dt="2024-06-06T13:44:46.619" v="320" actId="255"/>
          <ac:spMkLst>
            <pc:docMk/>
            <pc:sldMk cId="3224473945" sldId="2147476259"/>
            <ac:spMk id="31" creationId="{276DFE8F-71E6-4F38-ECFC-54DD2F1888DD}"/>
          </ac:spMkLst>
        </pc:spChg>
        <pc:picChg chg="add mod">
          <ac:chgData name="Brianna Lien" userId="f3b5815a-0702-414c-9464-ffb25822869a" providerId="ADAL" clId="{524229EB-1587-46F9-A145-DABF08C02510}" dt="2024-06-06T14:03:07.897" v="448"/>
          <ac:picMkLst>
            <pc:docMk/>
            <pc:sldMk cId="3224473945" sldId="2147476259"/>
            <ac:picMk id="2" creationId="{9FC5BC64-25A4-979B-DBEC-CF474FFAE7BF}"/>
          </ac:picMkLst>
        </pc:picChg>
        <pc:picChg chg="mod">
          <ac:chgData name="Brianna Lien" userId="f3b5815a-0702-414c-9464-ffb25822869a" providerId="ADAL" clId="{524229EB-1587-46F9-A145-DABF08C02510}" dt="2024-06-06T13:44:54.821" v="322" actId="14100"/>
          <ac:picMkLst>
            <pc:docMk/>
            <pc:sldMk cId="3224473945" sldId="2147476259"/>
            <ac:picMk id="4" creationId="{61047D4F-9FC6-CCEC-90D3-42380BAEF067}"/>
          </ac:picMkLst>
        </pc:picChg>
      </pc:sldChg>
      <pc:sldChg chg="modSp add mod">
        <pc:chgData name="Brianna Lien" userId="f3b5815a-0702-414c-9464-ffb25822869a" providerId="ADAL" clId="{524229EB-1587-46F9-A145-DABF08C02510}" dt="2024-06-06T14:18:34.942" v="477" actId="947"/>
        <pc:sldMkLst>
          <pc:docMk/>
          <pc:sldMk cId="2469463339" sldId="2147476260"/>
        </pc:sldMkLst>
        <pc:spChg chg="mod">
          <ac:chgData name="Brianna Lien" userId="f3b5815a-0702-414c-9464-ffb25822869a" providerId="ADAL" clId="{524229EB-1587-46F9-A145-DABF08C02510}" dt="2024-06-06T14:18:34.942" v="477" actId="947"/>
          <ac:spMkLst>
            <pc:docMk/>
            <pc:sldMk cId="2469463339" sldId="2147476260"/>
            <ac:spMk id="3" creationId="{F56D1675-F44D-F19F-183F-1902AFF4F58B}"/>
          </ac:spMkLst>
        </pc:spChg>
        <pc:spChg chg="mod">
          <ac:chgData name="Brianna Lien" userId="f3b5815a-0702-414c-9464-ffb25822869a" providerId="ADAL" clId="{524229EB-1587-46F9-A145-DABF08C02510}" dt="2024-06-06T14:18:22.752" v="476" actId="207"/>
          <ac:spMkLst>
            <pc:docMk/>
            <pc:sldMk cId="2469463339" sldId="2147476260"/>
            <ac:spMk id="49" creationId="{EA19D60B-01E9-913F-1BBF-AFD46B1DD14C}"/>
          </ac:spMkLst>
        </pc:spChg>
      </pc:sldChg>
      <pc:sldChg chg="add del modNotes">
        <pc:chgData name="Brianna Lien" userId="f3b5815a-0702-414c-9464-ffb25822869a" providerId="ADAL" clId="{524229EB-1587-46F9-A145-DABF08C02510}" dt="2024-06-06T13:00:12.334" v="24" actId="47"/>
        <pc:sldMkLst>
          <pc:docMk/>
          <pc:sldMk cId="3872429137" sldId="2147476260"/>
        </pc:sldMkLst>
      </pc:sldChg>
      <pc:sldChg chg="add del">
        <pc:chgData name="Brianna Lien" userId="f3b5815a-0702-414c-9464-ffb25822869a" providerId="ADAL" clId="{524229EB-1587-46F9-A145-DABF08C02510}" dt="2024-06-06T12:58:49.237" v="14" actId="47"/>
        <pc:sldMkLst>
          <pc:docMk/>
          <pc:sldMk cId="3878629911" sldId="2147476260"/>
        </pc:sldMkLst>
      </pc:sldChg>
      <pc:sldChg chg="addSp delSp modSp new del mod ord modClrScheme chgLayout">
        <pc:chgData name="Brianna Lien" userId="f3b5815a-0702-414c-9464-ffb25822869a" providerId="ADAL" clId="{524229EB-1587-46F9-A145-DABF08C02510}" dt="2024-06-06T14:20:32.546" v="489" actId="47"/>
        <pc:sldMkLst>
          <pc:docMk/>
          <pc:sldMk cId="1220356903" sldId="2147476261"/>
        </pc:sldMkLst>
        <pc:spChg chg="del mod ord">
          <ac:chgData name="Brianna Lien" userId="f3b5815a-0702-414c-9464-ffb25822869a" providerId="ADAL" clId="{524229EB-1587-46F9-A145-DABF08C02510}" dt="2024-06-06T14:20:01.076" v="485" actId="700"/>
          <ac:spMkLst>
            <pc:docMk/>
            <pc:sldMk cId="1220356903" sldId="2147476261"/>
            <ac:spMk id="2" creationId="{14732B2E-71D7-8617-4011-F9BF8655CC76}"/>
          </ac:spMkLst>
        </pc:spChg>
        <pc:spChg chg="del mod ord">
          <ac:chgData name="Brianna Lien" userId="f3b5815a-0702-414c-9464-ffb25822869a" providerId="ADAL" clId="{524229EB-1587-46F9-A145-DABF08C02510}" dt="2024-06-06T14:20:01.076" v="485" actId="700"/>
          <ac:spMkLst>
            <pc:docMk/>
            <pc:sldMk cId="1220356903" sldId="2147476261"/>
            <ac:spMk id="3" creationId="{A3DE99B7-337E-F6D2-8C7B-3625ADC4D904}"/>
          </ac:spMkLst>
        </pc:spChg>
        <pc:spChg chg="mod ord">
          <ac:chgData name="Brianna Lien" userId="f3b5815a-0702-414c-9464-ffb25822869a" providerId="ADAL" clId="{524229EB-1587-46F9-A145-DABF08C02510}" dt="2024-06-06T14:20:25.854" v="488" actId="700"/>
          <ac:spMkLst>
            <pc:docMk/>
            <pc:sldMk cId="1220356903" sldId="2147476261"/>
            <ac:spMk id="4" creationId="{460E93C8-BB3E-BC49-F327-37C039DE31D3}"/>
          </ac:spMkLst>
        </pc:spChg>
        <pc:spChg chg="add del mod ord">
          <ac:chgData name="Brianna Lien" userId="f3b5815a-0702-414c-9464-ffb25822869a" providerId="ADAL" clId="{524229EB-1587-46F9-A145-DABF08C02510}" dt="2024-06-06T14:20:25.854" v="488" actId="700"/>
          <ac:spMkLst>
            <pc:docMk/>
            <pc:sldMk cId="1220356903" sldId="2147476261"/>
            <ac:spMk id="5" creationId="{89B407F1-B731-555F-155E-3604DDFBF2E4}"/>
          </ac:spMkLst>
        </pc:spChg>
        <pc:spChg chg="add del mod ord">
          <ac:chgData name="Brianna Lien" userId="f3b5815a-0702-414c-9464-ffb25822869a" providerId="ADAL" clId="{524229EB-1587-46F9-A145-DABF08C02510}" dt="2024-06-06T14:20:25.854" v="488" actId="700"/>
          <ac:spMkLst>
            <pc:docMk/>
            <pc:sldMk cId="1220356903" sldId="2147476261"/>
            <ac:spMk id="6" creationId="{752E2E4F-E916-5E51-327E-6F7E2E22595D}"/>
          </ac:spMkLst>
        </pc:spChg>
        <pc:spChg chg="add mod ord">
          <ac:chgData name="Brianna Lien" userId="f3b5815a-0702-414c-9464-ffb25822869a" providerId="ADAL" clId="{524229EB-1587-46F9-A145-DABF08C02510}" dt="2024-06-06T14:20:25.854" v="488" actId="700"/>
          <ac:spMkLst>
            <pc:docMk/>
            <pc:sldMk cId="1220356903" sldId="2147476261"/>
            <ac:spMk id="7" creationId="{011B9E7D-43CD-486F-1D8E-2AE7A9AFA248}"/>
          </ac:spMkLst>
        </pc:spChg>
        <pc:spChg chg="add mod ord">
          <ac:chgData name="Brianna Lien" userId="f3b5815a-0702-414c-9464-ffb25822869a" providerId="ADAL" clId="{524229EB-1587-46F9-A145-DABF08C02510}" dt="2024-06-06T14:20:25.854" v="488" actId="700"/>
          <ac:spMkLst>
            <pc:docMk/>
            <pc:sldMk cId="1220356903" sldId="2147476261"/>
            <ac:spMk id="8" creationId="{0CD6448A-D43E-9A58-EF13-25516A359256}"/>
          </ac:spMkLst>
        </pc:spChg>
      </pc:sldChg>
      <pc:sldMasterChg chg="del delSldLayout">
        <pc:chgData name="Brianna Lien" userId="f3b5815a-0702-414c-9464-ffb25822869a" providerId="ADAL" clId="{524229EB-1587-46F9-A145-DABF08C02510}" dt="2024-06-06T13:31:26.362" v="190" actId="700"/>
        <pc:sldMasterMkLst>
          <pc:docMk/>
          <pc:sldMasterMk cId="1269562786" sldId="2147484115"/>
        </pc:sldMasterMkLst>
        <pc:sldLayoutChg chg="del">
          <pc:chgData name="Brianna Lien" userId="f3b5815a-0702-414c-9464-ffb25822869a" providerId="ADAL" clId="{524229EB-1587-46F9-A145-DABF08C02510}" dt="2024-06-06T13:31:26.362" v="190" actId="700"/>
          <pc:sldLayoutMkLst>
            <pc:docMk/>
            <pc:sldMasterMk cId="1269562786" sldId="2147484115"/>
            <pc:sldLayoutMk cId="3717945638" sldId="2147484123"/>
          </pc:sldLayoutMkLst>
        </pc:sldLayoutChg>
        <pc:sldLayoutChg chg="del">
          <pc:chgData name="Brianna Lien" userId="f3b5815a-0702-414c-9464-ffb25822869a" providerId="ADAL" clId="{524229EB-1587-46F9-A145-DABF08C02510}" dt="2024-06-06T13:31:26.362" v="190" actId="700"/>
          <pc:sldLayoutMkLst>
            <pc:docMk/>
            <pc:sldMasterMk cId="1269562786" sldId="2147484115"/>
            <pc:sldLayoutMk cId="1424933932" sldId="2147484126"/>
          </pc:sldLayoutMkLst>
        </pc:sldLayoutChg>
        <pc:sldLayoutChg chg="del">
          <pc:chgData name="Brianna Lien" userId="f3b5815a-0702-414c-9464-ffb25822869a" providerId="ADAL" clId="{524229EB-1587-46F9-A145-DABF08C02510}" dt="2024-06-06T13:31:26.362" v="190" actId="700"/>
          <pc:sldLayoutMkLst>
            <pc:docMk/>
            <pc:sldMasterMk cId="1269562786" sldId="2147484115"/>
            <pc:sldLayoutMk cId="445796322" sldId="2147484127"/>
          </pc:sldLayoutMkLst>
        </pc:sldLayoutChg>
        <pc:sldLayoutChg chg="del">
          <pc:chgData name="Brianna Lien" userId="f3b5815a-0702-414c-9464-ffb25822869a" providerId="ADAL" clId="{524229EB-1587-46F9-A145-DABF08C02510}" dt="2024-06-06T13:31:26.362" v="190" actId="700"/>
          <pc:sldLayoutMkLst>
            <pc:docMk/>
            <pc:sldMasterMk cId="1269562786" sldId="2147484115"/>
            <pc:sldLayoutMk cId="2355826436" sldId="2147484131"/>
          </pc:sldLayoutMkLst>
        </pc:sldLayoutChg>
        <pc:sldLayoutChg chg="del">
          <pc:chgData name="Brianna Lien" userId="f3b5815a-0702-414c-9464-ffb25822869a" providerId="ADAL" clId="{524229EB-1587-46F9-A145-DABF08C02510}" dt="2024-06-06T13:31:26.362" v="190" actId="700"/>
          <pc:sldLayoutMkLst>
            <pc:docMk/>
            <pc:sldMasterMk cId="1269562786" sldId="2147484115"/>
            <pc:sldLayoutMk cId="3922436338" sldId="2147484136"/>
          </pc:sldLayoutMkLst>
        </pc:sldLayoutChg>
        <pc:sldLayoutChg chg="del">
          <pc:chgData name="Brianna Lien" userId="f3b5815a-0702-414c-9464-ffb25822869a" providerId="ADAL" clId="{524229EB-1587-46F9-A145-DABF08C02510}" dt="2024-06-06T13:31:26.362" v="190" actId="700"/>
          <pc:sldLayoutMkLst>
            <pc:docMk/>
            <pc:sldMasterMk cId="1269562786" sldId="2147484115"/>
            <pc:sldLayoutMk cId="3989122806" sldId="2147484139"/>
          </pc:sldLayoutMkLst>
        </pc:sldLayoutChg>
        <pc:sldLayoutChg chg="del">
          <pc:chgData name="Brianna Lien" userId="f3b5815a-0702-414c-9464-ffb25822869a" providerId="ADAL" clId="{524229EB-1587-46F9-A145-DABF08C02510}" dt="2024-06-06T13:31:26.362" v="190" actId="700"/>
          <pc:sldLayoutMkLst>
            <pc:docMk/>
            <pc:sldMasterMk cId="1269562786" sldId="2147484115"/>
            <pc:sldLayoutMk cId="2883525058" sldId="2147484140"/>
          </pc:sldLayoutMkLst>
        </pc:sldLayoutChg>
        <pc:sldLayoutChg chg="del">
          <pc:chgData name="Brianna Lien" userId="f3b5815a-0702-414c-9464-ffb25822869a" providerId="ADAL" clId="{524229EB-1587-46F9-A145-DABF08C02510}" dt="2024-06-06T13:31:26.362" v="190" actId="700"/>
          <pc:sldLayoutMkLst>
            <pc:docMk/>
            <pc:sldMasterMk cId="1269562786" sldId="2147484115"/>
            <pc:sldLayoutMk cId="3244929310" sldId="2147484158"/>
          </pc:sldLayoutMkLst>
        </pc:sldLayoutChg>
        <pc:sldLayoutChg chg="del">
          <pc:chgData name="Brianna Lien" userId="f3b5815a-0702-414c-9464-ffb25822869a" providerId="ADAL" clId="{524229EB-1587-46F9-A145-DABF08C02510}" dt="2024-06-06T13:31:26.362" v="190" actId="700"/>
          <pc:sldLayoutMkLst>
            <pc:docMk/>
            <pc:sldMasterMk cId="1269562786" sldId="2147484115"/>
            <pc:sldLayoutMk cId="2931517232" sldId="2147484165"/>
          </pc:sldLayoutMkLst>
        </pc:sldLayoutChg>
        <pc:sldLayoutChg chg="del">
          <pc:chgData name="Brianna Lien" userId="f3b5815a-0702-414c-9464-ffb25822869a" providerId="ADAL" clId="{524229EB-1587-46F9-A145-DABF08C02510}" dt="2024-06-06T13:31:26.362" v="190" actId="700"/>
          <pc:sldLayoutMkLst>
            <pc:docMk/>
            <pc:sldMasterMk cId="1269562786" sldId="2147484115"/>
            <pc:sldLayoutMk cId="2411746499" sldId="2147484168"/>
          </pc:sldLayoutMkLst>
        </pc:sldLayoutChg>
        <pc:sldLayoutChg chg="del">
          <pc:chgData name="Brianna Lien" userId="f3b5815a-0702-414c-9464-ffb25822869a" providerId="ADAL" clId="{524229EB-1587-46F9-A145-DABF08C02510}" dt="2024-06-06T13:31:26.362" v="190" actId="700"/>
          <pc:sldLayoutMkLst>
            <pc:docMk/>
            <pc:sldMasterMk cId="1269562786" sldId="2147484115"/>
            <pc:sldLayoutMk cId="1972658981" sldId="2147484169"/>
          </pc:sldLayoutMkLst>
        </pc:sldLayoutChg>
      </pc:sldMasterChg>
      <pc:sldMasterChg chg="del delSldLayout">
        <pc:chgData name="Brianna Lien" userId="f3b5815a-0702-414c-9464-ffb25822869a" providerId="ADAL" clId="{524229EB-1587-46F9-A145-DABF08C02510}" dt="2024-06-06T13:31:14.721" v="189" actId="700"/>
        <pc:sldMasterMkLst>
          <pc:docMk/>
          <pc:sldMasterMk cId="2103164867" sldId="2147484170"/>
        </pc:sldMasterMkLst>
        <pc:sldLayoutChg chg="del">
          <pc:chgData name="Brianna Lien" userId="f3b5815a-0702-414c-9464-ffb25822869a" providerId="ADAL" clId="{524229EB-1587-46F9-A145-DABF08C02510}" dt="2024-06-06T13:31:14.721" v="189" actId="700"/>
          <pc:sldLayoutMkLst>
            <pc:docMk/>
            <pc:sldMasterMk cId="2103164867" sldId="2147484170"/>
            <pc:sldLayoutMk cId="3146428638" sldId="2147484171"/>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501046240" sldId="2147484172"/>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2695448979" sldId="2147484173"/>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426977868" sldId="2147484174"/>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222173801" sldId="2147484175"/>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1201520888" sldId="2147484176"/>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878111321" sldId="2147484177"/>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2583867680" sldId="2147484178"/>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3885426175" sldId="2147484179"/>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3787083027" sldId="2147484180"/>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1177646264" sldId="2147484181"/>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1879913343" sldId="2147484182"/>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1508625715" sldId="2147484183"/>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3387141928" sldId="2147484184"/>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3490741960" sldId="2147484185"/>
          </pc:sldLayoutMkLst>
        </pc:sldLayoutChg>
        <pc:sldLayoutChg chg="del">
          <pc:chgData name="Brianna Lien" userId="f3b5815a-0702-414c-9464-ffb25822869a" providerId="ADAL" clId="{524229EB-1587-46F9-A145-DABF08C02510}" dt="2024-06-06T13:31:14.721" v="189" actId="700"/>
          <pc:sldLayoutMkLst>
            <pc:docMk/>
            <pc:sldMasterMk cId="2103164867" sldId="2147484170"/>
            <pc:sldLayoutMk cId="3402022434" sldId="2147484186"/>
          </pc:sldLayoutMkLst>
        </pc:sldLayoutChg>
      </pc:sldMasterChg>
      <pc:sldMasterChg chg="delSldLayout">
        <pc:chgData name="Brianna Lien" userId="f3b5815a-0702-414c-9464-ffb25822869a" providerId="ADAL" clId="{524229EB-1587-46F9-A145-DABF08C02510}" dt="2024-06-06T12:59:05.901" v="19" actId="47"/>
        <pc:sldMasterMkLst>
          <pc:docMk/>
          <pc:sldMasterMk cId="2133574436" sldId="2147484187"/>
        </pc:sldMasterMkLst>
        <pc:sldLayoutChg chg="del">
          <pc:chgData name="Brianna Lien" userId="f3b5815a-0702-414c-9464-ffb25822869a" providerId="ADAL" clId="{524229EB-1587-46F9-A145-DABF08C02510}" dt="2024-06-06T12:59:05.901" v="19" actId="47"/>
          <pc:sldLayoutMkLst>
            <pc:docMk/>
            <pc:sldMasterMk cId="2133574436" sldId="2147484187"/>
            <pc:sldLayoutMk cId="1277800836" sldId="2147484198"/>
          </pc:sldLayoutMkLst>
        </pc:sldLayoutChg>
        <pc:sldLayoutChg chg="del">
          <pc:chgData name="Brianna Lien" userId="f3b5815a-0702-414c-9464-ffb25822869a" providerId="ADAL" clId="{524229EB-1587-46F9-A145-DABF08C02510}" dt="2024-06-06T12:54:47.339" v="1" actId="47"/>
          <pc:sldLayoutMkLst>
            <pc:docMk/>
            <pc:sldMasterMk cId="2133574436" sldId="2147484187"/>
            <pc:sldLayoutMk cId="1445725345" sldId="2147484212"/>
          </pc:sldLayoutMkLst>
        </pc:sldLayoutChg>
      </pc:sldMasterChg>
      <pc:sldMasterChg chg="del delSldLayout">
        <pc:chgData name="Brianna Lien" userId="f3b5815a-0702-414c-9464-ffb25822869a" providerId="ADAL" clId="{524229EB-1587-46F9-A145-DABF08C02510}" dt="2024-06-06T12:58:49.237" v="14" actId="47"/>
        <pc:sldMasterMkLst>
          <pc:docMk/>
          <pc:sldMasterMk cId="1825199310" sldId="2147484213"/>
        </pc:sldMasterMkLst>
        <pc:sldLayoutChg chg="del">
          <pc:chgData name="Brianna Lien" userId="f3b5815a-0702-414c-9464-ffb25822869a" providerId="ADAL" clId="{524229EB-1587-46F9-A145-DABF08C02510}" dt="2024-06-06T12:58:49.237" v="14" actId="47"/>
          <pc:sldLayoutMkLst>
            <pc:docMk/>
            <pc:sldMasterMk cId="1825199310" sldId="2147484213"/>
            <pc:sldLayoutMk cId="1969480055" sldId="2147484214"/>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2183982523" sldId="2147484215"/>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3948898686" sldId="2147484216"/>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1791809322" sldId="2147484217"/>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948708873" sldId="2147484218"/>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1354121317" sldId="2147484219"/>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3924731863" sldId="2147484220"/>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3891617833" sldId="2147484221"/>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944642720" sldId="2147484222"/>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2733823230" sldId="2147484223"/>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1463393549" sldId="2147484224"/>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2864819548" sldId="2147484225"/>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2359569696" sldId="2147484226"/>
          </pc:sldLayoutMkLst>
        </pc:sldLayoutChg>
        <pc:sldLayoutChg chg="del">
          <pc:chgData name="Brianna Lien" userId="f3b5815a-0702-414c-9464-ffb25822869a" providerId="ADAL" clId="{524229EB-1587-46F9-A145-DABF08C02510}" dt="2024-06-06T12:58:49.237" v="14" actId="47"/>
          <pc:sldLayoutMkLst>
            <pc:docMk/>
            <pc:sldMasterMk cId="1825199310" sldId="2147484213"/>
            <pc:sldLayoutMk cId="954967400" sldId="214748422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3766908212560379"/>
          <c:y val="0.77767186258431753"/>
        </c:manualLayout>
      </c:layout>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title>
    <c:autoTitleDeleted val="0"/>
    <c:plotArea>
      <c:layout>
        <c:manualLayout>
          <c:layoutTarget val="inner"/>
          <c:xMode val="edge"/>
          <c:yMode val="edge"/>
          <c:x val="0.17132327209098863"/>
          <c:y val="0.11753373330226242"/>
          <c:w val="0.48736638898398571"/>
          <c:h val="0.57366974775083179"/>
        </c:manualLayout>
      </c:layout>
      <c:barChart>
        <c:barDir val="bar"/>
        <c:grouping val="stacked"/>
        <c:varyColors val="0"/>
        <c:ser>
          <c:idx val="0"/>
          <c:order val="0"/>
          <c:tx>
            <c:strRef>
              <c:f>Sheet1!$B$1</c:f>
              <c:strCache>
                <c:ptCount val="1"/>
                <c:pt idx="0">
                  <c:v>Months</c:v>
                </c:pt>
              </c:strCache>
            </c:strRef>
          </c:tx>
          <c:spPr>
            <a:solidFill>
              <a:schemeClr val="accent1"/>
            </a:solidFill>
            <a:ln>
              <a:noFill/>
            </a:ln>
            <a:effectLst/>
          </c:spPr>
          <c:invertIfNegative val="0"/>
          <c:dPt>
            <c:idx val="0"/>
            <c:invertIfNegative val="0"/>
            <c:bubble3D val="0"/>
            <c:spPr>
              <a:solidFill>
                <a:schemeClr val="accent6">
                  <a:lumMod val="75000"/>
                </a:schemeClr>
              </a:solidFill>
              <a:ln>
                <a:noFill/>
              </a:ln>
              <a:effectLst/>
            </c:spPr>
            <c:extLst>
              <c:ext xmlns:c16="http://schemas.microsoft.com/office/drawing/2014/chart" uri="{C3380CC4-5D6E-409C-BE32-E72D297353CC}">
                <c16:uniqueId val="{00000001-0A25-9842-B7B7-CD267EDEB977}"/>
              </c:ext>
            </c:extLst>
          </c:dPt>
          <c:dPt>
            <c:idx val="1"/>
            <c:invertIfNegative val="0"/>
            <c:bubble3D val="0"/>
            <c:spPr>
              <a:solidFill>
                <a:srgbClr val="00B0F0"/>
              </a:solidFill>
              <a:ln>
                <a:noFill/>
              </a:ln>
              <a:effectLst/>
            </c:spPr>
            <c:extLst>
              <c:ext xmlns:c16="http://schemas.microsoft.com/office/drawing/2014/chart" uri="{C3380CC4-5D6E-409C-BE32-E72D297353CC}">
                <c16:uniqueId val="{00000003-0A25-9842-B7B7-CD267EDEB977}"/>
              </c:ext>
            </c:extLst>
          </c:dPt>
          <c:cat>
            <c:strRef>
              <c:f>Sheet1!$A$2:$A$3</c:f>
              <c:strCache>
                <c:ptCount val="2"/>
                <c:pt idx="0">
                  <c:v>ADT Alone (N=554)</c:v>
                </c:pt>
                <c:pt idx="1">
                  <c:v>Product X + ADT (N=955)</c:v>
                </c:pt>
              </c:strCache>
            </c:strRef>
          </c:cat>
          <c:val>
            <c:numRef>
              <c:f>Sheet1!$B$2:$B$3</c:f>
              <c:numCache>
                <c:formatCode>General</c:formatCode>
                <c:ptCount val="2"/>
                <c:pt idx="0">
                  <c:v>18.399999999999999</c:v>
                </c:pt>
                <c:pt idx="1">
                  <c:v>40.4</c:v>
                </c:pt>
              </c:numCache>
            </c:numRef>
          </c:val>
          <c:extLst>
            <c:ext xmlns:c16="http://schemas.microsoft.com/office/drawing/2014/chart" uri="{C3380CC4-5D6E-409C-BE32-E72D297353CC}">
              <c16:uniqueId val="{00000004-0A25-9842-B7B7-CD267EDEB977}"/>
            </c:ext>
          </c:extLst>
        </c:ser>
        <c:dLbls>
          <c:showLegendKey val="0"/>
          <c:showVal val="0"/>
          <c:showCatName val="0"/>
          <c:showSerName val="0"/>
          <c:showPercent val="0"/>
          <c:showBubbleSize val="0"/>
        </c:dLbls>
        <c:gapWidth val="150"/>
        <c:overlap val="100"/>
        <c:axId val="544902607"/>
        <c:axId val="544595407"/>
      </c:barChart>
      <c:catAx>
        <c:axId val="54490260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544595407"/>
        <c:crosses val="autoZero"/>
        <c:auto val="1"/>
        <c:lblAlgn val="ctr"/>
        <c:lblOffset val="100"/>
        <c:noMultiLvlLbl val="0"/>
      </c:catAx>
      <c:valAx>
        <c:axId val="54459540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544902607"/>
        <c:crosses val="autoZero"/>
        <c:crossBetween val="between"/>
      </c:valAx>
      <c:spPr>
        <a:noFill/>
        <a:ln>
          <a:noFill/>
        </a:ln>
        <a:effectLst/>
      </c:spPr>
    </c:plotArea>
    <c:legend>
      <c:legendPos val="b"/>
      <c:layout>
        <c:manualLayout>
          <c:xMode val="edge"/>
          <c:yMode val="edge"/>
          <c:x val="0.16821484270987869"/>
          <c:y val="0.84890283252479115"/>
          <c:w val="0.3543914755220815"/>
          <c:h val="4.9321319687328488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Arial" panose="020B0604020202020204" pitchFamily="34" charset="0"/>
          <a:cs typeface="Arial" panose="020B0604020202020204" pitchFamily="34" charset="0"/>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49256590260935"/>
          <c:y val="0.11899009639441048"/>
          <c:w val="0.6801445231701112"/>
          <c:h val="0.74744774515369372"/>
        </c:manualLayout>
      </c:layout>
      <c:barChart>
        <c:barDir val="bar"/>
        <c:grouping val="clustered"/>
        <c:varyColors val="0"/>
        <c:ser>
          <c:idx val="1"/>
          <c:order val="0"/>
          <c:tx>
            <c:strRef>
              <c:f>Sheet1!$C$1</c:f>
              <c:strCache>
                <c:ptCount val="1"/>
                <c:pt idx="0">
                  <c:v>Placebo + ADT + docetaxel </c:v>
                </c:pt>
              </c:strCache>
            </c:strRef>
          </c:tx>
          <c:spPr>
            <a:solidFill>
              <a:srgbClr val="99769F"/>
            </a:solidFill>
            <a:ln>
              <a:noFill/>
            </a:ln>
            <a:effectLst/>
          </c:spPr>
          <c:invertIfNegative val="0"/>
          <c:dLbls>
            <c:dLbl>
              <c:idx val="0"/>
              <c:layout>
                <c:manualLayout>
                  <c:x val="-6.1554985566082913E-3"/>
                  <c:y val="1.628587219822086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B59-4951-906E-97F524FEB022}"/>
                </c:ext>
              </c:extLst>
            </c:dLbl>
            <c:dLbl>
              <c:idx val="1"/>
              <c:layout>
                <c:manualLayout>
                  <c:x val="0"/>
                  <c:y val="1.628587219822086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B59-4951-906E-97F524FEB022}"/>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8</c:f>
              <c:strCache>
                <c:ptCount val="4"/>
                <c:pt idx="0">
                  <c:v>At any time 
post-baseline</c:v>
                </c:pt>
                <c:pt idx="1">
                  <c:v>52 weeks</c:v>
                </c:pt>
                <c:pt idx="2">
                  <c:v>36 weeks</c:v>
                </c:pt>
                <c:pt idx="3">
                  <c:v>24 weeks</c:v>
                </c:pt>
              </c:strCache>
            </c:strRef>
          </c:cat>
          <c:val>
            <c:numRef>
              <c:f>Sheet1!$C$5:$C$8</c:f>
              <c:numCache>
                <c:formatCode>General</c:formatCode>
                <c:ptCount val="4"/>
                <c:pt idx="0">
                  <c:v>28.6</c:v>
                </c:pt>
                <c:pt idx="1">
                  <c:v>26.1</c:v>
                </c:pt>
                <c:pt idx="2">
                  <c:v>25.1</c:v>
                </c:pt>
                <c:pt idx="3">
                  <c:v>23.9</c:v>
                </c:pt>
              </c:numCache>
            </c:numRef>
          </c:val>
          <c:extLst>
            <c:ext xmlns:c16="http://schemas.microsoft.com/office/drawing/2014/chart" uri="{C3380CC4-5D6E-409C-BE32-E72D297353CC}">
              <c16:uniqueId val="{00000002-2B59-4951-906E-97F524FEB022}"/>
            </c:ext>
          </c:extLst>
        </c:ser>
        <c:ser>
          <c:idx val="0"/>
          <c:order val="1"/>
          <c:tx>
            <c:strRef>
              <c:f>Sheet1!$D$1</c:f>
              <c:strCache>
                <c:ptCount val="1"/>
                <c:pt idx="0">
                  <c:v>Darolutamide + ADT + docetaxel</c:v>
                </c:pt>
              </c:strCache>
            </c:strRef>
          </c:tx>
          <c:spPr>
            <a:solidFill>
              <a:srgbClr val="007038"/>
            </a:solidFill>
            <a:ln>
              <a:solidFill>
                <a:srgbClr val="007038"/>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8</c:f>
              <c:strCache>
                <c:ptCount val="4"/>
                <c:pt idx="0">
                  <c:v>At any time 
post-baseline</c:v>
                </c:pt>
                <c:pt idx="1">
                  <c:v>52 weeks</c:v>
                </c:pt>
                <c:pt idx="2">
                  <c:v>36 weeks</c:v>
                </c:pt>
                <c:pt idx="3">
                  <c:v>24 weeks</c:v>
                </c:pt>
              </c:strCache>
            </c:strRef>
          </c:cat>
          <c:val>
            <c:numRef>
              <c:f>Sheet1!$D$5:$D$8</c:f>
              <c:numCache>
                <c:formatCode>General</c:formatCode>
                <c:ptCount val="4"/>
                <c:pt idx="0">
                  <c:v>67.3</c:v>
                </c:pt>
                <c:pt idx="1">
                  <c:v>60.2</c:v>
                </c:pt>
                <c:pt idx="2">
                  <c:v>57.1</c:v>
                </c:pt>
                <c:pt idx="3">
                  <c:v>48.7</c:v>
                </c:pt>
              </c:numCache>
            </c:numRef>
          </c:val>
          <c:extLst>
            <c:ext xmlns:c16="http://schemas.microsoft.com/office/drawing/2014/chart" uri="{C3380CC4-5D6E-409C-BE32-E72D297353CC}">
              <c16:uniqueId val="{00000003-2B59-4951-906E-97F524FEB022}"/>
            </c:ext>
          </c:extLst>
        </c:ser>
        <c:dLbls>
          <c:dLblPos val="outEnd"/>
          <c:showLegendKey val="0"/>
          <c:showVal val="1"/>
          <c:showCatName val="0"/>
          <c:showSerName val="0"/>
          <c:showPercent val="0"/>
          <c:showBubbleSize val="0"/>
        </c:dLbls>
        <c:gapWidth val="219"/>
        <c:axId val="1191595775"/>
        <c:axId val="1191596607"/>
      </c:barChart>
      <c:catAx>
        <c:axId val="1191595775"/>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191596607"/>
        <c:crosses val="autoZero"/>
        <c:auto val="1"/>
        <c:lblAlgn val="ctr"/>
        <c:lblOffset val="100"/>
        <c:tickMarkSkip val="2"/>
        <c:noMultiLvlLbl val="0"/>
      </c:catAx>
      <c:valAx>
        <c:axId val="1191596607"/>
        <c:scaling>
          <c:orientation val="minMax"/>
          <c:max val="100"/>
        </c:scaling>
        <c:delete val="1"/>
        <c:axPos val="b"/>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b="1">
                    <a:solidFill>
                      <a:schemeClr val="tx1"/>
                    </a:solidFill>
                  </a:rPr>
                  <a:t>Patients Achieving Undetectable PSA (%)</a:t>
                </a:r>
              </a:p>
            </c:rich>
          </c:tx>
          <c:layout>
            <c:manualLayout>
              <c:xMode val="edge"/>
              <c:yMode val="edge"/>
              <c:x val="0.19570475204837232"/>
              <c:y val="4.1339394370443802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extTo"/>
        <c:crossAx val="1191595775"/>
        <c:crosses val="autoZero"/>
        <c:crossBetween val="between"/>
        <c:majorUnit val="50"/>
        <c:minorUnit val="10"/>
      </c:valAx>
      <c:spPr>
        <a:noFill/>
        <a:ln>
          <a:noFill/>
        </a:ln>
        <a:effectLst/>
      </c:spPr>
    </c:plotArea>
    <c:legend>
      <c:legendPos val="r"/>
      <c:legendEntry>
        <c:idx val="0"/>
        <c:txPr>
          <a:bodyPr rot="0" spcFirstLastPara="1" vertOverflow="ellipsis" vert="horz" wrap="square" anchor="ctr" anchorCtr="1"/>
          <a:lstStyle/>
          <a:p>
            <a:pPr>
              <a:defRPr sz="1400" b="0" i="0" u="none" strike="noStrike" kern="1200" baseline="0">
                <a:solidFill>
                  <a:srgbClr val="007038"/>
                </a:solidFill>
                <a:latin typeface="+mn-lt"/>
                <a:ea typeface="+mn-ea"/>
                <a:cs typeface="+mn-cs"/>
              </a:defRPr>
            </a:pPr>
            <a:endParaRPr lang="de-DE"/>
          </a:p>
        </c:txPr>
      </c:legendEntry>
      <c:legendEntry>
        <c:idx val="1"/>
        <c:txPr>
          <a:bodyPr rot="0" spcFirstLastPara="1" vertOverflow="ellipsis" vert="horz" wrap="square" anchor="ctr" anchorCtr="1"/>
          <a:lstStyle/>
          <a:p>
            <a:pPr>
              <a:defRPr sz="1400" b="0" i="0" u="none" strike="noStrike" kern="1200" baseline="0">
                <a:solidFill>
                  <a:srgbClr val="99769F"/>
                </a:solidFill>
                <a:latin typeface="+mn-lt"/>
                <a:ea typeface="+mn-ea"/>
                <a:cs typeface="+mn-cs"/>
              </a:defRPr>
            </a:pPr>
            <a:endParaRPr lang="de-DE"/>
          </a:p>
        </c:txPr>
      </c:legendEntry>
      <c:layout>
        <c:manualLayout>
          <c:xMode val="edge"/>
          <c:yMode val="edge"/>
          <c:x val="0.19798934235733315"/>
          <c:y val="0.86713352011543776"/>
          <c:w val="0.58279969474198035"/>
          <c:h val="0.1190515564860238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x</c:v>
                </c:pt>
              </c:strCache>
            </c:strRef>
          </c:tx>
          <c:spPr>
            <a:solidFill>
              <a:schemeClr val="accent1"/>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CDD9-417D-9CFF-BE2C78681906}"/>
              </c:ext>
            </c:extLst>
          </c:dPt>
          <c:dPt>
            <c:idx val="1"/>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04-CDD9-417D-9CFF-BE2C78681906}"/>
              </c:ext>
            </c:extLst>
          </c:dPt>
          <c:dPt>
            <c:idx val="2"/>
            <c:invertIfNegative val="0"/>
            <c:bubble3D val="0"/>
            <c:spPr>
              <a:solidFill>
                <a:schemeClr val="tx2"/>
              </a:solidFill>
              <a:ln>
                <a:noFill/>
              </a:ln>
              <a:effectLst/>
            </c:spPr>
            <c:extLst>
              <c:ext xmlns:c16="http://schemas.microsoft.com/office/drawing/2014/chart" uri="{C3380CC4-5D6E-409C-BE32-E72D297353CC}">
                <c16:uniqueId val="{00000005-CDD9-417D-9CFF-BE2C78681906}"/>
              </c:ext>
            </c:extLst>
          </c:dPt>
          <c:dPt>
            <c:idx val="3"/>
            <c:invertIfNegative val="0"/>
            <c:bubble3D val="0"/>
            <c:spPr>
              <a:solidFill>
                <a:srgbClr val="007038"/>
              </a:solidFill>
              <a:ln>
                <a:noFill/>
              </a:ln>
              <a:effectLst/>
            </c:spPr>
            <c:extLst>
              <c:ext xmlns:c16="http://schemas.microsoft.com/office/drawing/2014/chart" uri="{C3380CC4-5D6E-409C-BE32-E72D297353CC}">
                <c16:uniqueId val="{00000003-CDD9-417D-9CFF-BE2C78681906}"/>
              </c:ext>
            </c:extLst>
          </c:dPt>
          <c:dLbls>
            <c:dLbl>
              <c:idx val="0"/>
              <c:layout>
                <c:manualLayout>
                  <c:x val="-2.6233356795332162E-3"/>
                  <c:y val="2.5631102391271948E-2"/>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mn-lt"/>
                        <a:ea typeface="+mn-ea"/>
                        <a:cs typeface="+mn-cs"/>
                      </a:defRPr>
                    </a:pPr>
                    <a:r>
                      <a:rPr lang="en-US" dirty="0"/>
                      <a:t>67.3%</a:t>
                    </a:r>
                  </a:p>
                </c:rich>
              </c:tx>
              <c:numFmt formatCode="0%" sourceLinked="0"/>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15:layout>
                    <c:manualLayout>
                      <c:w val="8.1099746253908922E-2"/>
                      <c:h val="0.12373927788596885"/>
                    </c:manualLayout>
                  </c15:layout>
                  <c15:showDataLabelsRange val="0"/>
                </c:ext>
                <c:ext xmlns:c16="http://schemas.microsoft.com/office/drawing/2014/chart" uri="{C3380CC4-5D6E-409C-BE32-E72D297353CC}">
                  <c16:uniqueId val="{00000001-CDD9-417D-9CFF-BE2C78681906}"/>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4-CDD9-417D-9CFF-BE2C78681906}"/>
                </c:ext>
              </c:extLst>
            </c:dLbl>
            <c:dLbl>
              <c:idx val="2"/>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5-CDD9-417D-9CFF-BE2C78681906}"/>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rolutamide</c:v>
                </c:pt>
                <c:pt idx="1">
                  <c:v>Docetaxel</c:v>
                </c:pt>
              </c:strCache>
            </c:strRef>
          </c:cat>
          <c:val>
            <c:numRef>
              <c:f>Sheet1!$B$2:$B$3</c:f>
              <c:numCache>
                <c:formatCode>0.000</c:formatCode>
                <c:ptCount val="2"/>
                <c:pt idx="0">
                  <c:v>0.67300000000000004</c:v>
                </c:pt>
                <c:pt idx="1">
                  <c:v>0.32</c:v>
                </c:pt>
              </c:numCache>
            </c:numRef>
          </c:val>
          <c:extLst>
            <c:ext xmlns:c16="http://schemas.microsoft.com/office/drawing/2014/chart" uri="{C3380CC4-5D6E-409C-BE32-E72D297353CC}">
              <c16:uniqueId val="{00000006-CDD9-417D-9CFF-BE2C78681906}"/>
            </c:ext>
          </c:extLst>
        </c:ser>
        <c:ser>
          <c:idx val="2"/>
          <c:order val="1"/>
          <c:tx>
            <c:strRef>
              <c:f>Sheet1!$C$1</c:f>
              <c:strCache>
                <c:ptCount val="1"/>
                <c:pt idx="0">
                  <c:v>Placebo</c:v>
                </c:pt>
              </c:strCache>
            </c:strRef>
          </c:tx>
          <c:spPr>
            <a:solidFill>
              <a:schemeClr val="accent6"/>
            </a:solidFill>
            <a:ln>
              <a:noFill/>
            </a:ln>
            <a:effectLst/>
          </c:spPr>
          <c:invertIfNegative val="0"/>
          <c:dPt>
            <c:idx val="3"/>
            <c:invertIfNegative val="0"/>
            <c:bubble3D val="0"/>
            <c:spPr>
              <a:solidFill>
                <a:schemeClr val="accent6"/>
              </a:solidFill>
              <a:ln>
                <a:noFill/>
              </a:ln>
              <a:effectLst/>
            </c:spPr>
            <c:extLst>
              <c:ext xmlns:c16="http://schemas.microsoft.com/office/drawing/2014/chart" uri="{C3380CC4-5D6E-409C-BE32-E72D297353CC}">
                <c16:uniqueId val="{00000008-CDD9-417D-9CFF-BE2C78681906}"/>
              </c:ext>
            </c:extLst>
          </c:dPt>
          <c:dLbls>
            <c:dLbl>
              <c:idx val="0"/>
              <c:layout>
                <c:manualLayout>
                  <c:x val="0"/>
                  <c:y val="1.3294135116808296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0B9-44B4-BDF9-66F4019963DA}"/>
                </c:ext>
              </c:extLst>
            </c:dLbl>
            <c:dLbl>
              <c:idx val="1"/>
              <c:layout>
                <c:manualLayout>
                  <c:x val="2.4014593309079606E-3"/>
                  <c:y val="2.630957179191394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0B9-44B4-BDF9-66F4019963DA}"/>
                </c:ext>
              </c:extLst>
            </c:dLbl>
            <c:dLbl>
              <c:idx val="2"/>
              <c:layout>
                <c:manualLayout>
                  <c:x val="0"/>
                  <c:y val="2.297543137910367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0B9-44B4-BDF9-66F4019963DA}"/>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rolutamide</c:v>
                </c:pt>
                <c:pt idx="1">
                  <c:v>Docetaxel</c:v>
                </c:pt>
              </c:strCache>
            </c:strRef>
          </c:cat>
          <c:val>
            <c:numRef>
              <c:f>Sheet1!$C$2:$C$3</c:f>
              <c:numCache>
                <c:formatCode>0.000</c:formatCode>
                <c:ptCount val="2"/>
                <c:pt idx="0">
                  <c:v>0.28599999999999998</c:v>
                </c:pt>
                <c:pt idx="1">
                  <c:v>0.19600000000000001</c:v>
                </c:pt>
              </c:numCache>
            </c:numRef>
          </c:val>
          <c:extLst>
            <c:ext xmlns:c16="http://schemas.microsoft.com/office/drawing/2014/chart" uri="{C3380CC4-5D6E-409C-BE32-E72D297353CC}">
              <c16:uniqueId val="{00000009-CDD9-417D-9CFF-BE2C78681906}"/>
            </c:ext>
          </c:extLst>
        </c:ser>
        <c:dLbls>
          <c:showLegendKey val="0"/>
          <c:showVal val="0"/>
          <c:showCatName val="0"/>
          <c:showSerName val="0"/>
          <c:showPercent val="0"/>
          <c:showBubbleSize val="0"/>
        </c:dLbls>
        <c:gapWidth val="219"/>
        <c:axId val="676715152"/>
        <c:axId val="676727632"/>
      </c:barChart>
      <c:catAx>
        <c:axId val="676715152"/>
        <c:scaling>
          <c:orientation val="minMax"/>
        </c:scaling>
        <c:delete val="0"/>
        <c:axPos val="b"/>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676727632"/>
        <c:crosses val="autoZero"/>
        <c:auto val="1"/>
        <c:lblAlgn val="ctr"/>
        <c:lblOffset val="100"/>
        <c:noMultiLvlLbl val="0"/>
      </c:catAx>
      <c:valAx>
        <c:axId val="676727632"/>
        <c:scaling>
          <c:orientation val="minMax"/>
          <c:max val="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676715152"/>
        <c:crosses val="autoZero"/>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x</c:v>
                </c:pt>
              </c:strCache>
            </c:strRef>
          </c:tx>
          <c:spPr>
            <a:solidFill>
              <a:schemeClr val="accent1"/>
            </a:solidFill>
            <a:ln>
              <a:solidFill>
                <a:schemeClr val="bg1">
                  <a:lumMod val="85000"/>
                </a:schemeClr>
              </a:solidFill>
            </a:ln>
            <a:effectLst/>
          </c:spPr>
          <c:invertIfNegative val="0"/>
          <c:dPt>
            <c:idx val="0"/>
            <c:invertIfNegative val="0"/>
            <c:bubble3D val="0"/>
            <c:spPr>
              <a:solidFill>
                <a:schemeClr val="accent2"/>
              </a:solidFill>
              <a:ln>
                <a:solidFill>
                  <a:schemeClr val="accent2"/>
                </a:solidFill>
              </a:ln>
              <a:effectLst/>
            </c:spPr>
            <c:extLst>
              <c:ext xmlns:c16="http://schemas.microsoft.com/office/drawing/2014/chart" uri="{C3380CC4-5D6E-409C-BE32-E72D297353CC}">
                <c16:uniqueId val="{00000001-AF2B-44B9-8A6D-A8D94C910BD7}"/>
              </c:ext>
            </c:extLst>
          </c:dPt>
          <c:dPt>
            <c:idx val="1"/>
            <c:invertIfNegative val="0"/>
            <c:bubble3D val="0"/>
            <c:spPr>
              <a:solidFill>
                <a:schemeClr val="accent6"/>
              </a:solidFill>
              <a:ln>
                <a:solidFill>
                  <a:schemeClr val="accent6"/>
                </a:solidFill>
              </a:ln>
              <a:effectLst/>
            </c:spPr>
            <c:extLst>
              <c:ext xmlns:c16="http://schemas.microsoft.com/office/drawing/2014/chart" uri="{C3380CC4-5D6E-409C-BE32-E72D297353CC}">
                <c16:uniqueId val="{00000003-AF2B-44B9-8A6D-A8D94C910BD7}"/>
              </c:ext>
            </c:extLst>
          </c:dPt>
          <c:dPt>
            <c:idx val="2"/>
            <c:invertIfNegative val="0"/>
            <c:bubble3D val="0"/>
            <c:spPr>
              <a:solidFill>
                <a:schemeClr val="bg1">
                  <a:lumMod val="85000"/>
                </a:schemeClr>
              </a:solidFill>
              <a:ln>
                <a:solidFill>
                  <a:schemeClr val="bg1">
                    <a:lumMod val="85000"/>
                  </a:schemeClr>
                </a:solidFill>
              </a:ln>
              <a:effectLst/>
            </c:spPr>
            <c:extLst>
              <c:ext xmlns:c16="http://schemas.microsoft.com/office/drawing/2014/chart" uri="{C3380CC4-5D6E-409C-BE32-E72D297353CC}">
                <c16:uniqueId val="{00000005-AF2B-44B9-8A6D-A8D94C910BD7}"/>
              </c:ext>
            </c:extLst>
          </c:dPt>
          <c:dPt>
            <c:idx val="3"/>
            <c:invertIfNegative val="0"/>
            <c:bubble3D val="0"/>
            <c:spPr>
              <a:solidFill>
                <a:srgbClr val="007038"/>
              </a:solidFill>
              <a:ln>
                <a:solidFill>
                  <a:schemeClr val="bg1">
                    <a:lumMod val="85000"/>
                  </a:schemeClr>
                </a:solidFill>
              </a:ln>
              <a:effectLst/>
            </c:spPr>
            <c:extLst>
              <c:ext xmlns:c16="http://schemas.microsoft.com/office/drawing/2014/chart" uri="{C3380CC4-5D6E-409C-BE32-E72D297353CC}">
                <c16:uniqueId val="{00000007-AF2B-44B9-8A6D-A8D94C910BD7}"/>
              </c:ext>
            </c:extLst>
          </c:dPt>
          <c:dLbls>
            <c:dLbl>
              <c:idx val="0"/>
              <c:layout>
                <c:manualLayout>
                  <c:x val="1.2007296654540243E-3"/>
                  <c:y val="3.7159792227019997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AF2B-44B9-8A6D-A8D94C910BD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arolutamide</c:v>
                </c:pt>
                <c:pt idx="1">
                  <c:v>Enzalutamide</c:v>
                </c:pt>
                <c:pt idx="2">
                  <c:v>Apalutamide</c:v>
                </c:pt>
              </c:strCache>
            </c:strRef>
          </c:cat>
          <c:val>
            <c:numRef>
              <c:f>Sheet1!$B$2:$B$4</c:f>
              <c:numCache>
                <c:formatCode>0.000</c:formatCode>
                <c:ptCount val="3"/>
                <c:pt idx="0">
                  <c:v>0.67300000000000004</c:v>
                </c:pt>
                <c:pt idx="1">
                  <c:v>0.68100000000000005</c:v>
                </c:pt>
                <c:pt idx="2">
                  <c:v>0.68400000000000005</c:v>
                </c:pt>
              </c:numCache>
            </c:numRef>
          </c:val>
          <c:extLst>
            <c:ext xmlns:c16="http://schemas.microsoft.com/office/drawing/2014/chart" uri="{C3380CC4-5D6E-409C-BE32-E72D297353CC}">
              <c16:uniqueId val="{00000008-AF2B-44B9-8A6D-A8D94C910BD7}"/>
            </c:ext>
          </c:extLst>
        </c:ser>
        <c:ser>
          <c:idx val="2"/>
          <c:order val="1"/>
          <c:tx>
            <c:strRef>
              <c:f>Sheet1!$C$1</c:f>
              <c:strCache>
                <c:ptCount val="1"/>
                <c:pt idx="0">
                  <c:v>Placebo</c:v>
                </c:pt>
              </c:strCache>
            </c:strRef>
          </c:tx>
          <c:spPr>
            <a:solidFill>
              <a:schemeClr val="accent5">
                <a:lumMod val="40000"/>
                <a:lumOff val="60000"/>
              </a:schemeClr>
            </a:solidFill>
            <a:ln>
              <a:solidFill>
                <a:schemeClr val="accent5">
                  <a:lumMod val="40000"/>
                  <a:lumOff val="60000"/>
                </a:schemeClr>
              </a:solidFill>
            </a:ln>
            <a:effectLst/>
          </c:spPr>
          <c:invertIfNegative val="0"/>
          <c:dPt>
            <c:idx val="3"/>
            <c:invertIfNegative val="0"/>
            <c:bubble3D val="0"/>
            <c:spPr>
              <a:solidFill>
                <a:schemeClr val="accent5">
                  <a:lumMod val="40000"/>
                  <a:lumOff val="60000"/>
                </a:schemeClr>
              </a:solidFill>
              <a:ln>
                <a:solidFill>
                  <a:schemeClr val="accent5">
                    <a:lumMod val="40000"/>
                    <a:lumOff val="60000"/>
                  </a:schemeClr>
                </a:solidFill>
              </a:ln>
              <a:effectLst/>
            </c:spPr>
            <c:extLst>
              <c:ext xmlns:c16="http://schemas.microsoft.com/office/drawing/2014/chart" uri="{C3380CC4-5D6E-409C-BE32-E72D297353CC}">
                <c16:uniqueId val="{0000000A-AF2B-44B9-8A6D-A8D94C910BD7}"/>
              </c:ext>
            </c:extLst>
          </c:dPt>
          <c:dLbls>
            <c:dLbl>
              <c:idx val="0"/>
              <c:layout>
                <c:manualLayout>
                  <c:x val="0"/>
                  <c:y val="1.3294135116808296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F2B-44B9-8A6D-A8D94C910BD7}"/>
                </c:ext>
              </c:extLst>
            </c:dLbl>
            <c:dLbl>
              <c:idx val="1"/>
              <c:layout>
                <c:manualLayout>
                  <c:x val="2.4014593309079606E-3"/>
                  <c:y val="2.630957179191394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F2B-44B9-8A6D-A8D94C910BD7}"/>
                </c:ext>
              </c:extLst>
            </c:dLbl>
            <c:dLbl>
              <c:idx val="2"/>
              <c:layout>
                <c:manualLayout>
                  <c:x val="0"/>
                  <c:y val="2.297543137910367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F2B-44B9-8A6D-A8D94C910BD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arolutamide</c:v>
                </c:pt>
                <c:pt idx="1">
                  <c:v>Enzalutamide</c:v>
                </c:pt>
                <c:pt idx="2">
                  <c:v>Apalutamide</c:v>
                </c:pt>
              </c:strCache>
            </c:strRef>
          </c:cat>
          <c:val>
            <c:numRef>
              <c:f>Sheet1!$C$2:$C$4</c:f>
              <c:numCache>
                <c:formatCode>0.000</c:formatCode>
                <c:ptCount val="3"/>
                <c:pt idx="0">
                  <c:v>0.28599999999999998</c:v>
                </c:pt>
                <c:pt idx="1">
                  <c:v>0.17599999999999999</c:v>
                </c:pt>
                <c:pt idx="2">
                  <c:v>0.28699999999999998</c:v>
                </c:pt>
              </c:numCache>
            </c:numRef>
          </c:val>
          <c:extLst>
            <c:ext xmlns:c16="http://schemas.microsoft.com/office/drawing/2014/chart" uri="{C3380CC4-5D6E-409C-BE32-E72D297353CC}">
              <c16:uniqueId val="{0000000E-AF2B-44B9-8A6D-A8D94C910BD7}"/>
            </c:ext>
          </c:extLst>
        </c:ser>
        <c:dLbls>
          <c:showLegendKey val="0"/>
          <c:showVal val="0"/>
          <c:showCatName val="0"/>
          <c:showSerName val="0"/>
          <c:showPercent val="0"/>
          <c:showBubbleSize val="0"/>
        </c:dLbls>
        <c:gapWidth val="219"/>
        <c:axId val="676715152"/>
        <c:axId val="676727632"/>
      </c:barChart>
      <c:catAx>
        <c:axId val="676715152"/>
        <c:scaling>
          <c:orientation val="minMax"/>
        </c:scaling>
        <c:delete val="0"/>
        <c:axPos val="b"/>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676727632"/>
        <c:crosses val="autoZero"/>
        <c:auto val="1"/>
        <c:lblAlgn val="ctr"/>
        <c:lblOffset val="100"/>
        <c:noMultiLvlLbl val="0"/>
      </c:catAx>
      <c:valAx>
        <c:axId val="676727632"/>
        <c:scaling>
          <c:orientation val="minMax"/>
          <c:max val="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676715152"/>
        <c:crosses val="autoZero"/>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2216" y="176715"/>
            <a:ext cx="5983605" cy="1785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2" name="Date Placeholder 2"/>
          <p:cNvSpPr>
            <a:spLocks noGrp="1"/>
          </p:cNvSpPr>
          <p:nvPr>
            <p:ph type="dt" sz="quarter" idx="1"/>
          </p:nvPr>
        </p:nvSpPr>
        <p:spPr bwMode="gray">
          <a:xfrm>
            <a:off x="6216864" y="10247862"/>
            <a:ext cx="492259" cy="1785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6/7/2024</a:t>
            </a:fld>
            <a:endParaRPr lang="en-US" dirty="0"/>
          </a:p>
        </p:txBody>
      </p:sp>
      <p:sp>
        <p:nvSpPr>
          <p:cNvPr id="13" name="Footer Placeholder 3"/>
          <p:cNvSpPr>
            <a:spLocks noGrp="1"/>
          </p:cNvSpPr>
          <p:nvPr>
            <p:ph type="ftr" sz="quarter" idx="2"/>
          </p:nvPr>
        </p:nvSpPr>
        <p:spPr bwMode="gray">
          <a:xfrm>
            <a:off x="494926" y="10247862"/>
            <a:ext cx="5567925" cy="1785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Slide Number Placeholder 4"/>
          <p:cNvSpPr>
            <a:spLocks noGrp="1"/>
          </p:cNvSpPr>
          <p:nvPr>
            <p:ph type="sldNum" sz="quarter" idx="3"/>
          </p:nvPr>
        </p:nvSpPr>
        <p:spPr bwMode="gray">
          <a:xfrm>
            <a:off x="175703" y="10247862"/>
            <a:ext cx="190528" cy="1785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344694" y="198300"/>
            <a:ext cx="364430" cy="396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wmf"/><Relationship Id="rId1" Type="http://schemas.openxmlformats.org/officeDocument/2006/relationships/theme" Target="../theme/theme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289401" y="697394"/>
            <a:ext cx="6309360" cy="3550155"/>
          </a:xfrm>
          <a:prstGeom prst="rect">
            <a:avLst/>
          </a:prstGeom>
          <a:noFill/>
          <a:ln w="12700">
            <a:solidFill>
              <a:schemeClr val="bg1">
                <a:lumMod val="75000"/>
              </a:schemeClr>
            </a:solidFill>
          </a:ln>
        </p:spPr>
        <p:txBody>
          <a:bodyPr vert="horz" lIns="87598" tIns="43799" rIns="87598" bIns="43799" rtlCol="0" anchor="ctr"/>
          <a:lstStyle/>
          <a:p>
            <a:endParaRPr lang="en-US" dirty="0"/>
          </a:p>
        </p:txBody>
      </p:sp>
      <p:sp>
        <p:nvSpPr>
          <p:cNvPr id="5" name="Notes Placeholder 4"/>
          <p:cNvSpPr>
            <a:spLocks noGrp="1"/>
          </p:cNvSpPr>
          <p:nvPr>
            <p:ph type="body" sz="quarter" idx="3"/>
          </p:nvPr>
        </p:nvSpPr>
        <p:spPr bwMode="gray">
          <a:xfrm>
            <a:off x="192788" y="4328160"/>
            <a:ext cx="6506513" cy="507536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199933" y="183269"/>
            <a:ext cx="5900408" cy="185193"/>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Date Placeholder 2"/>
          <p:cNvSpPr>
            <a:spLocks noGrp="1"/>
          </p:cNvSpPr>
          <p:nvPr>
            <p:ph type="dt" sz="quarter" idx="1"/>
          </p:nvPr>
        </p:nvSpPr>
        <p:spPr bwMode="gray">
          <a:xfrm>
            <a:off x="6157508" y="9658526"/>
            <a:ext cx="540250" cy="185193"/>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6/7/2024</a:t>
            </a:fld>
            <a:endParaRPr lang="en-US" dirty="0"/>
          </a:p>
        </p:txBody>
      </p:sp>
      <p:sp>
        <p:nvSpPr>
          <p:cNvPr id="15" name="Footer Placeholder 3"/>
          <p:cNvSpPr>
            <a:spLocks noGrp="1"/>
          </p:cNvSpPr>
          <p:nvPr>
            <p:ph type="ftr" sz="quarter" idx="4"/>
          </p:nvPr>
        </p:nvSpPr>
        <p:spPr bwMode="gray">
          <a:xfrm>
            <a:off x="547782" y="9658526"/>
            <a:ext cx="5465661" cy="185193"/>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6" name="Slide Number Placeholder 4"/>
          <p:cNvSpPr>
            <a:spLocks noGrp="1"/>
          </p:cNvSpPr>
          <p:nvPr>
            <p:ph type="sldNum" sz="quarter" idx="5"/>
          </p:nvPr>
        </p:nvSpPr>
        <p:spPr bwMode="gray">
          <a:xfrm>
            <a:off x="192834" y="9658526"/>
            <a:ext cx="208896" cy="185193"/>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297893" y="205655"/>
            <a:ext cx="399865" cy="4111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8925" y="696913"/>
            <a:ext cx="6310313" cy="3551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6DDA6-9B93-4AA0-8E16-ED2728C205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0926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A756EF-C080-D00C-FCED-750B15B097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86258B-5CC0-952F-CCEC-D00BAB0058EC}"/>
              </a:ext>
            </a:extLst>
          </p:cNvPr>
          <p:cNvSpPr>
            <a:spLocks noGrp="1" noRot="1" noChangeAspect="1"/>
          </p:cNvSpPr>
          <p:nvPr>
            <p:ph type="sldImg"/>
          </p:nvPr>
        </p:nvSpPr>
        <p:spPr>
          <a:xfrm>
            <a:off x="288925" y="696913"/>
            <a:ext cx="6310313" cy="3551237"/>
          </a:xfrm>
        </p:spPr>
      </p:sp>
      <p:sp>
        <p:nvSpPr>
          <p:cNvPr id="3" name="Notes Placeholder 2">
            <a:extLst>
              <a:ext uri="{FF2B5EF4-FFF2-40B4-BE49-F238E27FC236}">
                <a16:creationId xmlns:a16="http://schemas.microsoft.com/office/drawing/2014/main" id="{02AB43AC-FFB2-5B0F-5957-1966F802EE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BEFBE1D-07E6-A4F6-5AB0-B49EC8CBA990}"/>
              </a:ext>
            </a:extLst>
          </p:cNvPr>
          <p:cNvSpPr>
            <a:spLocks noGrp="1"/>
          </p:cNvSpPr>
          <p:nvPr>
            <p:ph type="sldNum" sz="quarter" idx="5"/>
          </p:nvPr>
        </p:nvSpPr>
        <p:spPr/>
        <p:txBody>
          <a:bodyPr/>
          <a:lstStyle/>
          <a:p>
            <a:fld id="{8BEAD0EE-CCB1-496B-A032-45D33B3A5E1D}" type="slidenum">
              <a:rPr lang="en-US" smtClean="0"/>
              <a:t>11</a:t>
            </a:fld>
            <a:endParaRPr lang="en-US" dirty="0"/>
          </a:p>
        </p:txBody>
      </p:sp>
    </p:spTree>
    <p:extLst>
      <p:ext uri="{BB962C8B-B14F-4D97-AF65-F5344CB8AC3E}">
        <p14:creationId xmlns:p14="http://schemas.microsoft.com/office/powerpoint/2010/main" val="39471668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686CFD-4F5F-ED9F-DC84-F5281D2381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F39AF0-3E00-65F3-CD22-C882A0DE50F2}"/>
              </a:ext>
            </a:extLst>
          </p:cNvPr>
          <p:cNvSpPr>
            <a:spLocks noGrp="1" noRot="1" noChangeAspect="1"/>
          </p:cNvSpPr>
          <p:nvPr>
            <p:ph type="sldImg"/>
          </p:nvPr>
        </p:nvSpPr>
        <p:spPr>
          <a:xfrm>
            <a:off x="288925" y="696913"/>
            <a:ext cx="6310313" cy="3551237"/>
          </a:xfrm>
        </p:spPr>
      </p:sp>
      <p:sp>
        <p:nvSpPr>
          <p:cNvPr id="3" name="Notes Placeholder 2">
            <a:extLst>
              <a:ext uri="{FF2B5EF4-FFF2-40B4-BE49-F238E27FC236}">
                <a16:creationId xmlns:a16="http://schemas.microsoft.com/office/drawing/2014/main" id="{7505EA74-C2F8-B28D-AC60-67B5A330E39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5F62304-6D67-E490-9B3A-ADF799B4039C}"/>
              </a:ext>
            </a:extLst>
          </p:cNvPr>
          <p:cNvSpPr>
            <a:spLocks noGrp="1"/>
          </p:cNvSpPr>
          <p:nvPr>
            <p:ph type="sldNum" sz="quarter" idx="5"/>
          </p:nvPr>
        </p:nvSpPr>
        <p:spPr/>
        <p:txBody>
          <a:bodyPr/>
          <a:lstStyle/>
          <a:p>
            <a:fld id="{8BEAD0EE-CCB1-496B-A032-45D33B3A5E1D}" type="slidenum">
              <a:rPr lang="en-US" smtClean="0"/>
              <a:t>12</a:t>
            </a:fld>
            <a:endParaRPr lang="en-US" dirty="0"/>
          </a:p>
        </p:txBody>
      </p:sp>
    </p:spTree>
    <p:extLst>
      <p:ext uri="{BB962C8B-B14F-4D97-AF65-F5344CB8AC3E}">
        <p14:creationId xmlns:p14="http://schemas.microsoft.com/office/powerpoint/2010/main" val="16757865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E0603-5781-21DC-6B24-C9F1A5DBAC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529CDA-6A2A-5470-91D5-BA89D45CE73E}"/>
              </a:ext>
            </a:extLst>
          </p:cNvPr>
          <p:cNvSpPr>
            <a:spLocks noGrp="1" noRot="1" noChangeAspect="1"/>
          </p:cNvSpPr>
          <p:nvPr>
            <p:ph type="sldImg"/>
          </p:nvPr>
        </p:nvSpPr>
        <p:spPr>
          <a:xfrm>
            <a:off x="288925" y="696913"/>
            <a:ext cx="6310313" cy="3551237"/>
          </a:xfrm>
        </p:spPr>
      </p:sp>
      <p:sp>
        <p:nvSpPr>
          <p:cNvPr id="3" name="Notes Placeholder 2">
            <a:extLst>
              <a:ext uri="{FF2B5EF4-FFF2-40B4-BE49-F238E27FC236}">
                <a16:creationId xmlns:a16="http://schemas.microsoft.com/office/drawing/2014/main" id="{1E64FF65-CA73-A134-4DEA-CB840AC6D6F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DB6CB1-5528-02ED-37E6-78DF8C96EB15}"/>
              </a:ext>
            </a:extLst>
          </p:cNvPr>
          <p:cNvSpPr>
            <a:spLocks noGrp="1"/>
          </p:cNvSpPr>
          <p:nvPr>
            <p:ph type="sldNum" sz="quarter" idx="5"/>
          </p:nvPr>
        </p:nvSpPr>
        <p:spPr/>
        <p:txBody>
          <a:bodyPr/>
          <a:lstStyle/>
          <a:p>
            <a:fld id="{8BEAD0EE-CCB1-496B-A032-45D33B3A5E1D}" type="slidenum">
              <a:rPr lang="en-US" smtClean="0"/>
              <a:t>13</a:t>
            </a:fld>
            <a:endParaRPr lang="en-US" dirty="0"/>
          </a:p>
        </p:txBody>
      </p:sp>
    </p:spTree>
    <p:extLst>
      <p:ext uri="{BB962C8B-B14F-4D97-AF65-F5344CB8AC3E}">
        <p14:creationId xmlns:p14="http://schemas.microsoft.com/office/powerpoint/2010/main" val="26263255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AAAB0F-73B3-DE21-7E73-410208D3DB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D123E9-076F-56A1-C468-7C483B2B8571}"/>
              </a:ext>
            </a:extLst>
          </p:cNvPr>
          <p:cNvSpPr>
            <a:spLocks noGrp="1" noRot="1" noChangeAspect="1"/>
          </p:cNvSpPr>
          <p:nvPr>
            <p:ph type="sldImg"/>
          </p:nvPr>
        </p:nvSpPr>
        <p:spPr>
          <a:xfrm>
            <a:off x="288925" y="696913"/>
            <a:ext cx="6310313" cy="3551237"/>
          </a:xfrm>
        </p:spPr>
      </p:sp>
      <p:sp>
        <p:nvSpPr>
          <p:cNvPr id="3" name="Notes Placeholder 2">
            <a:extLst>
              <a:ext uri="{FF2B5EF4-FFF2-40B4-BE49-F238E27FC236}">
                <a16:creationId xmlns:a16="http://schemas.microsoft.com/office/drawing/2014/main" id="{6382CBF1-62FA-1B04-27DC-DCBB7EB2D5E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FC5841F-876B-A352-081F-9B20CC5982F6}"/>
              </a:ext>
            </a:extLst>
          </p:cNvPr>
          <p:cNvSpPr>
            <a:spLocks noGrp="1"/>
          </p:cNvSpPr>
          <p:nvPr>
            <p:ph type="sldNum" sz="quarter" idx="5"/>
          </p:nvPr>
        </p:nvSpPr>
        <p:spPr/>
        <p:txBody>
          <a:bodyPr/>
          <a:lstStyle/>
          <a:p>
            <a:fld id="{8BEAD0EE-CCB1-496B-A032-45D33B3A5E1D}" type="slidenum">
              <a:rPr lang="en-US" smtClean="0"/>
              <a:t>14</a:t>
            </a:fld>
            <a:endParaRPr lang="en-US" dirty="0"/>
          </a:p>
        </p:txBody>
      </p:sp>
    </p:spTree>
    <p:extLst>
      <p:ext uri="{BB962C8B-B14F-4D97-AF65-F5344CB8AC3E}">
        <p14:creationId xmlns:p14="http://schemas.microsoft.com/office/powerpoint/2010/main" val="10614514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8925" y="696913"/>
            <a:ext cx="6310313" cy="3551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AFB87F-AE93-4B5D-8772-B3215053F0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31758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3A7684-91F2-BEA3-14DE-A5287F93FD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C47802-B8F4-8CBC-9050-0B2A39D7F437}"/>
              </a:ext>
            </a:extLst>
          </p:cNvPr>
          <p:cNvSpPr>
            <a:spLocks noGrp="1" noRot="1" noChangeAspect="1"/>
          </p:cNvSpPr>
          <p:nvPr>
            <p:ph type="sldImg"/>
          </p:nvPr>
        </p:nvSpPr>
        <p:spPr>
          <a:xfrm>
            <a:off x="288925" y="696913"/>
            <a:ext cx="6310313" cy="3551237"/>
          </a:xfrm>
        </p:spPr>
      </p:sp>
      <p:sp>
        <p:nvSpPr>
          <p:cNvPr id="3" name="Notes Placeholder 2">
            <a:extLst>
              <a:ext uri="{FF2B5EF4-FFF2-40B4-BE49-F238E27FC236}">
                <a16:creationId xmlns:a16="http://schemas.microsoft.com/office/drawing/2014/main" id="{7BE12CF9-3F45-626B-BEA7-35812D58D9F8}"/>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B6457582-58B2-6138-E6C1-8299C7E171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897D8-B621-4400-8E77-A874696C1EA9}" type="slidenum">
              <a:rPr kumimoji="0" lang="de-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284628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Image Placeholder 5">
            <a:extLst>
              <a:ext uri="{FF2B5EF4-FFF2-40B4-BE49-F238E27FC236}">
                <a16:creationId xmlns:a16="http://schemas.microsoft.com/office/drawing/2014/main" id="{088A579C-CD3B-44D4-B42A-DEB1265A737C}"/>
              </a:ext>
            </a:extLst>
          </p:cNvPr>
          <p:cNvSpPr>
            <a:spLocks noGrp="1" noRot="1" noChangeAspect="1"/>
          </p:cNvSpPr>
          <p:nvPr>
            <p:ph type="sldImg"/>
          </p:nvPr>
        </p:nvSpPr>
        <p:spPr>
          <a:xfrm>
            <a:off x="288925" y="696913"/>
            <a:ext cx="6310313" cy="3551237"/>
          </a:xfrm>
        </p:spPr>
      </p:sp>
      <p:sp>
        <p:nvSpPr>
          <p:cNvPr id="7" name="Notes Placeholder 6">
            <a:extLst>
              <a:ext uri="{FF2B5EF4-FFF2-40B4-BE49-F238E27FC236}">
                <a16:creationId xmlns:a16="http://schemas.microsoft.com/office/drawing/2014/main" id="{E6C59139-E556-4DD5-B4E5-AE85C83E5248}"/>
              </a:ext>
            </a:extLst>
          </p:cNvPr>
          <p:cNvSpPr>
            <a:spLocks noGrp="1"/>
          </p:cNvSpPr>
          <p:nvPr>
            <p:ph type="body" idx="1"/>
          </p:nvPr>
        </p:nvSpPr>
        <p:spPr/>
        <p:txBody>
          <a:bodyPr/>
          <a:lstStyle/>
          <a:p>
            <a:endParaRPr lang="en-US" dirty="0">
              <a:cs typeface="Calibri"/>
            </a:endParaRPr>
          </a:p>
        </p:txBody>
      </p:sp>
    </p:spTree>
    <p:extLst>
      <p:ext uri="{BB962C8B-B14F-4D97-AF65-F5344CB8AC3E}">
        <p14:creationId xmlns:p14="http://schemas.microsoft.com/office/powerpoint/2010/main" val="3408416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F30DA-6EE0-CD25-70BB-7006F618E7FB}"/>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A97A64-C06A-B964-5FDE-ED5B27FEFB6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Image Placeholder 5">
            <a:extLst>
              <a:ext uri="{FF2B5EF4-FFF2-40B4-BE49-F238E27FC236}">
                <a16:creationId xmlns:a16="http://schemas.microsoft.com/office/drawing/2014/main" id="{9D8CB38B-1FD4-07AD-F23C-C1FE8EEF06C6}"/>
              </a:ext>
            </a:extLst>
          </p:cNvPr>
          <p:cNvSpPr>
            <a:spLocks noGrp="1" noRot="1" noChangeAspect="1"/>
          </p:cNvSpPr>
          <p:nvPr>
            <p:ph type="sldImg"/>
          </p:nvPr>
        </p:nvSpPr>
        <p:spPr>
          <a:xfrm>
            <a:off x="288925" y="696913"/>
            <a:ext cx="6310313" cy="3551237"/>
          </a:xfrm>
        </p:spPr>
      </p:sp>
      <p:sp>
        <p:nvSpPr>
          <p:cNvPr id="7" name="Notes Placeholder 6">
            <a:extLst>
              <a:ext uri="{FF2B5EF4-FFF2-40B4-BE49-F238E27FC236}">
                <a16:creationId xmlns:a16="http://schemas.microsoft.com/office/drawing/2014/main" id="{C0C61742-0B4B-A7CE-1A0B-5E550F0F8E6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33835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Image Placeholder 5">
            <a:extLst>
              <a:ext uri="{FF2B5EF4-FFF2-40B4-BE49-F238E27FC236}">
                <a16:creationId xmlns:a16="http://schemas.microsoft.com/office/drawing/2014/main" id="{088A579C-CD3B-44D4-B42A-DEB1265A737C}"/>
              </a:ext>
            </a:extLst>
          </p:cNvPr>
          <p:cNvSpPr>
            <a:spLocks noGrp="1" noRot="1" noChangeAspect="1"/>
          </p:cNvSpPr>
          <p:nvPr>
            <p:ph type="sldImg"/>
          </p:nvPr>
        </p:nvSpPr>
        <p:spPr>
          <a:xfrm>
            <a:off x="288925" y="696913"/>
            <a:ext cx="6310313" cy="3551237"/>
          </a:xfrm>
        </p:spPr>
      </p:sp>
      <p:sp>
        <p:nvSpPr>
          <p:cNvPr id="7" name="Notes Placeholder 6">
            <a:extLst>
              <a:ext uri="{FF2B5EF4-FFF2-40B4-BE49-F238E27FC236}">
                <a16:creationId xmlns:a16="http://schemas.microsoft.com/office/drawing/2014/main" id="{E6C59139-E556-4DD5-B4E5-AE85C83E524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83890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8925" y="696913"/>
            <a:ext cx="6310313" cy="3551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EAD0EE-CCB1-496B-A032-45D33B3A5E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592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EE02A5-ED99-DE81-21A5-DA4837B90B92}"/>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3DA681-8FBB-2555-9FB9-A6635AA0D37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Image Placeholder 5">
            <a:extLst>
              <a:ext uri="{FF2B5EF4-FFF2-40B4-BE49-F238E27FC236}">
                <a16:creationId xmlns:a16="http://schemas.microsoft.com/office/drawing/2014/main" id="{2E7EFE80-F730-515C-1FC7-D2C6F8566E32}"/>
              </a:ext>
            </a:extLst>
          </p:cNvPr>
          <p:cNvSpPr>
            <a:spLocks noGrp="1" noRot="1" noChangeAspect="1"/>
          </p:cNvSpPr>
          <p:nvPr>
            <p:ph type="sldImg"/>
          </p:nvPr>
        </p:nvSpPr>
        <p:spPr>
          <a:xfrm>
            <a:off x="288925" y="696913"/>
            <a:ext cx="6310313" cy="3551237"/>
          </a:xfrm>
        </p:spPr>
      </p:sp>
      <p:sp>
        <p:nvSpPr>
          <p:cNvPr id="7" name="Notes Placeholder 6">
            <a:extLst>
              <a:ext uri="{FF2B5EF4-FFF2-40B4-BE49-F238E27FC236}">
                <a16:creationId xmlns:a16="http://schemas.microsoft.com/office/drawing/2014/main" id="{A9E97E69-4ED7-6E21-77E2-0E58001D639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6579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Image Placeholder 5">
            <a:extLst>
              <a:ext uri="{FF2B5EF4-FFF2-40B4-BE49-F238E27FC236}">
                <a16:creationId xmlns:a16="http://schemas.microsoft.com/office/drawing/2014/main" id="{088A579C-CD3B-44D4-B42A-DEB1265A737C}"/>
              </a:ext>
            </a:extLst>
          </p:cNvPr>
          <p:cNvSpPr>
            <a:spLocks noGrp="1" noRot="1" noChangeAspect="1"/>
          </p:cNvSpPr>
          <p:nvPr>
            <p:ph type="sldImg"/>
          </p:nvPr>
        </p:nvSpPr>
        <p:spPr>
          <a:xfrm>
            <a:off x="288925" y="696913"/>
            <a:ext cx="6310313" cy="3551237"/>
          </a:xfrm>
        </p:spPr>
      </p:sp>
      <p:sp>
        <p:nvSpPr>
          <p:cNvPr id="7" name="Notes Placeholder 6">
            <a:extLst>
              <a:ext uri="{FF2B5EF4-FFF2-40B4-BE49-F238E27FC236}">
                <a16:creationId xmlns:a16="http://schemas.microsoft.com/office/drawing/2014/main" id="{E6C59139-E556-4DD5-B4E5-AE85C83E524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436079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51AB7-765F-AB35-4973-9A2F5F9A94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F8AD38-7FB9-F94D-4B8B-5CA5CE79BFFA}"/>
              </a:ext>
            </a:extLst>
          </p:cNvPr>
          <p:cNvSpPr>
            <a:spLocks noGrp="1" noRot="1" noChangeAspect="1"/>
          </p:cNvSpPr>
          <p:nvPr>
            <p:ph type="sldImg"/>
          </p:nvPr>
        </p:nvSpPr>
        <p:spPr>
          <a:xfrm>
            <a:off x="288925" y="696913"/>
            <a:ext cx="6310313" cy="3551237"/>
          </a:xfrm>
        </p:spPr>
      </p:sp>
      <p:sp>
        <p:nvSpPr>
          <p:cNvPr id="3" name="Notes Placeholder 2">
            <a:extLst>
              <a:ext uri="{FF2B5EF4-FFF2-40B4-BE49-F238E27FC236}">
                <a16:creationId xmlns:a16="http://schemas.microsoft.com/office/drawing/2014/main" id="{52C6691F-77DD-8A87-ACC9-90EEF6F4549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09B7137-6B3F-E903-0995-BA963FB12D1D}"/>
              </a:ext>
            </a:extLst>
          </p:cNvPr>
          <p:cNvSpPr>
            <a:spLocks noGrp="1"/>
          </p:cNvSpPr>
          <p:nvPr>
            <p:ph type="sldNum" sz="quarter" idx="5"/>
          </p:nvPr>
        </p:nvSpPr>
        <p:spPr/>
        <p:txBody>
          <a:bodyPr/>
          <a:lstStyle/>
          <a:p>
            <a:fld id="{8BEAD0EE-CCB1-496B-A032-45D33B3A5E1D}" type="slidenum">
              <a:rPr lang="en-US" smtClean="0"/>
              <a:t>8</a:t>
            </a:fld>
            <a:endParaRPr lang="en-US" dirty="0"/>
          </a:p>
        </p:txBody>
      </p:sp>
    </p:spTree>
    <p:extLst>
      <p:ext uri="{BB962C8B-B14F-4D97-AF65-F5344CB8AC3E}">
        <p14:creationId xmlns:p14="http://schemas.microsoft.com/office/powerpoint/2010/main" val="6433685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8925" y="696913"/>
            <a:ext cx="6310313" cy="3551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BEAD0EE-CCB1-496B-A032-45D33B3A5E1D}" type="slidenum">
              <a:rPr lang="en-US" smtClean="0"/>
              <a:t>9</a:t>
            </a:fld>
            <a:endParaRPr lang="en-US" dirty="0"/>
          </a:p>
        </p:txBody>
      </p:sp>
    </p:spTree>
    <p:extLst>
      <p:ext uri="{BB962C8B-B14F-4D97-AF65-F5344CB8AC3E}">
        <p14:creationId xmlns:p14="http://schemas.microsoft.com/office/powerpoint/2010/main" val="1622637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Image Placeholder 5">
            <a:extLst>
              <a:ext uri="{FF2B5EF4-FFF2-40B4-BE49-F238E27FC236}">
                <a16:creationId xmlns:a16="http://schemas.microsoft.com/office/drawing/2014/main" id="{088A579C-CD3B-44D4-B42A-DEB1265A737C}"/>
              </a:ext>
            </a:extLst>
          </p:cNvPr>
          <p:cNvSpPr>
            <a:spLocks noGrp="1" noRot="1" noChangeAspect="1"/>
          </p:cNvSpPr>
          <p:nvPr>
            <p:ph type="sldImg"/>
          </p:nvPr>
        </p:nvSpPr>
        <p:spPr>
          <a:xfrm>
            <a:off x="288925" y="696913"/>
            <a:ext cx="6310313" cy="3551237"/>
          </a:xfrm>
        </p:spPr>
      </p:sp>
      <p:sp>
        <p:nvSpPr>
          <p:cNvPr id="7" name="Notes Placeholder 6">
            <a:extLst>
              <a:ext uri="{FF2B5EF4-FFF2-40B4-BE49-F238E27FC236}">
                <a16:creationId xmlns:a16="http://schemas.microsoft.com/office/drawing/2014/main" id="{E6C59139-E556-4DD5-B4E5-AE85C83E524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096461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w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0.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7.png"/><Relationship Id="rId7"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7.png"/><Relationship Id="rId7"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7.png"/><Relationship Id="rId7"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7.png"/><Relationship Id="rId7"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7.png"/><Relationship Id="rId7"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9.tif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19.tif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19.tif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19.tif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rion+Bayer Title Slide">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57582" y="1161143"/>
            <a:ext cx="7463084" cy="3058456"/>
          </a:xfrm>
          <a:prstGeom prst="rect">
            <a:avLst/>
          </a:prstGeom>
        </p:spPr>
        <p:txBody>
          <a:bodyPr anchor="b">
            <a:noAutofit/>
          </a:bodyPr>
          <a:lstStyle>
            <a:lvl1pPr algn="l">
              <a:lnSpc>
                <a:spcPct val="80000"/>
              </a:lnSpc>
              <a:defRPr sz="7199">
                <a:solidFill>
                  <a:schemeClr val="bg1"/>
                </a:solidFill>
              </a:defRPr>
            </a:lvl1pPr>
          </a:lstStyle>
          <a:p>
            <a:r>
              <a:rPr lang="en-US"/>
              <a:t>Click to edit Master title style</a:t>
            </a:r>
          </a:p>
        </p:txBody>
      </p:sp>
      <p:sp>
        <p:nvSpPr>
          <p:cNvPr id="3" name="Subtitle 2"/>
          <p:cNvSpPr>
            <a:spLocks noGrp="1"/>
          </p:cNvSpPr>
          <p:nvPr>
            <p:ph type="subTitle" idx="1"/>
          </p:nvPr>
        </p:nvSpPr>
        <p:spPr>
          <a:xfrm>
            <a:off x="857582" y="4361468"/>
            <a:ext cx="7463084" cy="896331"/>
          </a:xfrm>
        </p:spPr>
        <p:txBody>
          <a:bodyPr/>
          <a:lstStyle>
            <a:lvl1pPr marL="0" indent="0" algn="l">
              <a:buNone/>
              <a:defRPr sz="24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Click to edit Master subtitle style</a:t>
            </a:r>
          </a:p>
        </p:txBody>
      </p:sp>
      <p:sp>
        <p:nvSpPr>
          <p:cNvPr id="8" name="TextBox 7"/>
          <p:cNvSpPr txBox="1"/>
          <p:nvPr userDrawn="1"/>
        </p:nvSpPr>
        <p:spPr>
          <a:xfrm>
            <a:off x="857582" y="6145347"/>
            <a:ext cx="1267480" cy="344709"/>
          </a:xfrm>
          <a:prstGeom prst="rect">
            <a:avLst/>
          </a:prstGeom>
        </p:spPr>
        <p:txBody>
          <a:bodyPr vert="horz" lIns="0" tIns="0" rIns="0" bIns="0" rtlCol="0">
            <a:normAutofit/>
          </a:bodyPr>
          <a:lstStyle>
            <a:lvl1pPr lvl="0" indent="0">
              <a:lnSpc>
                <a:spcPct val="90000"/>
              </a:lnSpc>
              <a:spcBef>
                <a:spcPts val="600"/>
              </a:spcBef>
              <a:buFont typeface="Arial" panose="020B0604020202020204" pitchFamily="34" charset="0"/>
              <a:buNone/>
              <a:defRPr sz="1200">
                <a:solidFill>
                  <a:schemeClr val="bg1"/>
                </a:solidFill>
                <a:latin typeface="Arial" charset="0"/>
                <a:ea typeface="Arial" charset="0"/>
                <a:cs typeface="Arial" charset="0"/>
              </a:defRPr>
            </a:lvl1pPr>
            <a:lvl2pPr marL="177800" indent="-169863">
              <a:lnSpc>
                <a:spcPct val="90000"/>
              </a:lnSpc>
              <a:spcBef>
                <a:spcPts val="300"/>
              </a:spcBef>
              <a:buSzPct val="120000"/>
              <a:buFont typeface="Arial" charset="0"/>
              <a:buChar char="•"/>
              <a:tabLst/>
              <a:defRPr>
                <a:solidFill>
                  <a:schemeClr val="accent2"/>
                </a:solidFill>
                <a:latin typeface="Arial" charset="0"/>
                <a:ea typeface="Arial" charset="0"/>
                <a:cs typeface="Arial" charset="0"/>
              </a:defRPr>
            </a:lvl2pPr>
            <a:lvl3pPr marL="573088" indent="-169863">
              <a:lnSpc>
                <a:spcPct val="90000"/>
              </a:lnSpc>
              <a:spcBef>
                <a:spcPts val="300"/>
              </a:spcBef>
              <a:buSzPct val="120000"/>
              <a:buFont typeface=".AppleSystemUIFont" charset="-120"/>
              <a:buChar char="–"/>
              <a:tabLst/>
              <a:defRPr sz="1600">
                <a:solidFill>
                  <a:schemeClr val="accent2"/>
                </a:solidFill>
                <a:latin typeface="Arial" charset="0"/>
                <a:ea typeface="Arial" charset="0"/>
                <a:cs typeface="Arial" charset="0"/>
              </a:defRPr>
            </a:lvl3pPr>
            <a:lvl4pPr marL="1600200" indent="-228600">
              <a:lnSpc>
                <a:spcPct val="90000"/>
              </a:lnSpc>
              <a:spcBef>
                <a:spcPts val="300"/>
              </a:spcBef>
              <a:buFont typeface="Arial" panose="020B0604020202020204" pitchFamily="34" charset="0"/>
              <a:buChar char="•"/>
              <a:defRPr sz="1400">
                <a:solidFill>
                  <a:schemeClr val="accent2"/>
                </a:solidFill>
                <a:latin typeface="Arial" charset="0"/>
                <a:ea typeface="Arial" charset="0"/>
                <a:cs typeface="Arial" charset="0"/>
              </a:defRPr>
            </a:lvl4pPr>
            <a:lvl5pPr marL="2057400" indent="-228600">
              <a:lnSpc>
                <a:spcPct val="90000"/>
              </a:lnSpc>
              <a:spcBef>
                <a:spcPts val="300"/>
              </a:spcBef>
              <a:buFont typeface="Arial" panose="020B0604020202020204" pitchFamily="34" charset="0"/>
              <a:buChar char="•"/>
              <a:defRPr sz="1400">
                <a:solidFill>
                  <a:schemeClr val="accent2"/>
                </a:solidFill>
                <a:latin typeface="Arial" charset="0"/>
                <a:ea typeface="Arial" charset="0"/>
                <a:cs typeface="Arial"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067" dirty="0">
                <a:solidFill>
                  <a:schemeClr val="bg1"/>
                </a:solidFill>
              </a:rPr>
              <a:t>Confidential.</a:t>
            </a:r>
            <a:br>
              <a:rPr lang="en-US" sz="1067" dirty="0">
                <a:solidFill>
                  <a:schemeClr val="bg1"/>
                </a:solidFill>
              </a:rPr>
            </a:br>
            <a:r>
              <a:rPr lang="en-US" sz="1067" dirty="0">
                <a:solidFill>
                  <a:schemeClr val="bg1"/>
                </a:solidFill>
              </a:rPr>
              <a:t>For internal use only.</a:t>
            </a:r>
          </a:p>
        </p:txBody>
      </p:sp>
      <p:sp>
        <p:nvSpPr>
          <p:cNvPr id="4" name="TextBox 3"/>
          <p:cNvSpPr txBox="1"/>
          <p:nvPr userDrawn="1"/>
        </p:nvSpPr>
        <p:spPr>
          <a:xfrm>
            <a:off x="9051132" y="6132247"/>
            <a:ext cx="2646213" cy="455340"/>
          </a:xfrm>
          <a:prstGeom prst="rect">
            <a:avLst/>
          </a:prstGeom>
        </p:spPr>
        <p:txBody>
          <a:bodyPr vert="horz" wrap="square" lIns="0" tIns="0" rIns="0" bIns="0" rtlCol="0">
            <a:normAutofit/>
          </a:bodyPr>
          <a:lstStyle/>
          <a:p>
            <a:pPr marL="0" indent="0" algn="r">
              <a:buNone/>
            </a:pPr>
            <a:r>
              <a:rPr lang="en-US" sz="1600" b="1" dirty="0">
                <a:solidFill>
                  <a:schemeClr val="bg1"/>
                </a:solidFill>
                <a:latin typeface="Arial" charset="0"/>
                <a:ea typeface="Arial" charset="0"/>
                <a:cs typeface="Arial" charset="0"/>
              </a:rPr>
              <a:t>DAROLUTAMIDE</a:t>
            </a:r>
          </a:p>
        </p:txBody>
      </p:sp>
    </p:spTree>
    <p:extLst>
      <p:ext uri="{BB962C8B-B14F-4D97-AF65-F5344CB8AC3E}">
        <p14:creationId xmlns:p14="http://schemas.microsoft.com/office/powerpoint/2010/main" val="59814950"/>
      </p:ext>
    </p:extLst>
  </p:cSld>
  <p:clrMapOvr>
    <a:masterClrMapping/>
  </p:clrMapOvr>
  <p:hf hdr="0" dt="0"/>
  <p:extLst>
    <p:ext uri="{DCECCB84-F9BA-43D5-87BE-67443E8EF086}">
      <p15:sldGuideLst xmlns:p15="http://schemas.microsoft.com/office/powerpoint/2012/main">
        <p15:guide id="1" pos="408">
          <p15:clr>
            <a:srgbClr val="FBAE40"/>
          </p15:clr>
        </p15:guide>
        <p15:guide id="2" orient="horz" pos="2988">
          <p15:clr>
            <a:srgbClr val="FBAE40"/>
          </p15:clr>
        </p15:guide>
        <p15:guide id="3" pos="55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slide, Solid">
    <p:bg>
      <p:bgPr>
        <a:solidFill>
          <a:schemeClr val="accent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bwMode="gray"/>
        <p:txBody>
          <a:bodyPr/>
          <a:lstStyle>
            <a:lvl1pPr>
              <a:defRPr>
                <a:solidFill>
                  <a:schemeClr val="bg1"/>
                </a:solid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hasCustomPrompt="1"/>
          </p:nvPr>
        </p:nvSpPr>
        <p:spPr bwMode="black">
          <a:xfrm>
            <a:off x="506276" y="1949315"/>
            <a:ext cx="3830197" cy="1070976"/>
          </a:xfrm>
        </p:spPr>
        <p:txBody>
          <a:bodyPr anchor="t"/>
          <a:lstStyle>
            <a:lvl1pPr>
              <a:defRPr sz="2800" b="0" i="0">
                <a:solidFill>
                  <a:schemeClr val="bg1"/>
                </a:solidFill>
              </a:defRPr>
            </a:lvl1pPr>
          </a:lstStyle>
          <a:p>
            <a:r>
              <a:rPr lang="de-DE" err="1"/>
              <a:t>Section</a:t>
            </a:r>
            <a:r>
              <a:rPr lang="de-DE"/>
              <a:t> </a:t>
            </a:r>
            <a:r>
              <a:rPr lang="de-DE" err="1"/>
              <a:t>divider</a:t>
            </a:r>
            <a:r>
              <a:rPr lang="de-DE"/>
              <a:t> </a:t>
            </a:r>
            <a:r>
              <a:rPr lang="de-DE" err="1"/>
              <a:t>titles</a:t>
            </a:r>
            <a:r>
              <a:rPr lang="de-DE"/>
              <a:t> </a:t>
            </a:r>
            <a:r>
              <a:rPr lang="de-DE" err="1"/>
              <a:t>are</a:t>
            </a:r>
            <a:r>
              <a:rPr lang="de-DE"/>
              <a:t> </a:t>
            </a:r>
            <a:r>
              <a:rPr lang="de-DE" err="1"/>
              <a:t>set</a:t>
            </a:r>
            <a:r>
              <a:rPr lang="de-DE"/>
              <a:t> in Arial Regular </a:t>
            </a:r>
            <a:r>
              <a:rPr lang="de-DE" err="1"/>
              <a:t>sentence</a:t>
            </a:r>
            <a:r>
              <a:rPr lang="de-DE"/>
              <a:t> </a:t>
            </a:r>
            <a:r>
              <a:rPr lang="de-DE" err="1"/>
              <a:t>case</a:t>
            </a:r>
            <a:r>
              <a:rPr lang="de-DE"/>
              <a:t> 28pt</a:t>
            </a:r>
            <a:endParaRPr lang="en-US"/>
          </a:p>
        </p:txBody>
      </p:sp>
      <p:pic>
        <p:nvPicPr>
          <p:cNvPr id="9" name="Picture 2">
            <a:hlinkClick r:id="" action="ppaction://noaction"/>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gray">
          <a:xfrm>
            <a:off x="11151878" y="198885"/>
            <a:ext cx="824742" cy="824742"/>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userDrawn="1"/>
        </p:nvCxnSpPr>
        <p:spPr bwMode="gray">
          <a:xfrm flipH="1">
            <a:off x="4124056" y="0"/>
            <a:ext cx="1316736" cy="6858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gray">
          <a:xfrm flipV="1">
            <a:off x="6558866" y="2642616"/>
            <a:ext cx="5631548" cy="42153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10007639" y="3429000"/>
            <a:ext cx="2182775" cy="3429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gray">
          <a:xfrm flipH="1">
            <a:off x="10462565" y="3666245"/>
            <a:ext cx="1727848" cy="3191757"/>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608229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Slide | Medical Affairs">
    <p:bg>
      <p:bgPr>
        <a:solidFill>
          <a:schemeClr val="bg1"/>
        </a:solidFill>
        <a:effectLst/>
      </p:bgPr>
    </p:bg>
    <p:spTree>
      <p:nvGrpSpPr>
        <p:cNvPr id="1" name=""/>
        <p:cNvGrpSpPr/>
        <p:nvPr/>
      </p:nvGrpSpPr>
      <p:grpSpPr>
        <a:xfrm>
          <a:off x="0" y="0"/>
          <a:ext cx="0" cy="0"/>
          <a:chOff x="0" y="0"/>
          <a:chExt cx="0" cy="0"/>
        </a:xfrm>
      </p:grpSpPr>
      <p:pic>
        <p:nvPicPr>
          <p:cNvPr id="9" name="Picture 2">
            <a:hlinkClick r:id="" action="ppaction://noaction"/>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gray">
          <a:xfrm>
            <a:off x="11151775" y="198885"/>
            <a:ext cx="824948" cy="824742"/>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5"/>
          <p:cNvSpPr>
            <a:spLocks noGrp="1"/>
          </p:cNvSpPr>
          <p:nvPr>
            <p:ph type="sldNum" sz="quarter" idx="12"/>
          </p:nvPr>
        </p:nvSpPr>
        <p:spPr bwMode="gray"/>
        <p:txBody>
          <a:bodyPr/>
          <a:lstStyle>
            <a:lvl1pPr>
              <a:defRPr>
                <a:solidFill>
                  <a:schemeClr val="accent2"/>
                </a:solid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solidFill>
                  <a:srgbClr val="00BCFF"/>
                </a:solidFill>
              </a:rPr>
              <a:pPr/>
              <a:t>‹#›</a:t>
            </a:fld>
            <a:endParaRPr lang="en-US">
              <a:solidFill>
                <a:srgbClr val="00BCFF"/>
              </a:solidFill>
            </a:endParaRPr>
          </a:p>
        </p:txBody>
      </p:sp>
      <p:sp>
        <p:nvSpPr>
          <p:cNvPr id="2" name="Title 1"/>
          <p:cNvSpPr>
            <a:spLocks noGrp="1"/>
          </p:cNvSpPr>
          <p:nvPr>
            <p:ph type="ctrTitle" hasCustomPrompt="1"/>
          </p:nvPr>
        </p:nvSpPr>
        <p:spPr bwMode="black">
          <a:xfrm>
            <a:off x="506277" y="2910449"/>
            <a:ext cx="7131653" cy="1070976"/>
          </a:xfrm>
        </p:spPr>
        <p:txBody>
          <a:bodyPr anchor="t"/>
          <a:lstStyle>
            <a:lvl1pPr>
              <a:defRPr sz="3600" b="0" i="0">
                <a:solidFill>
                  <a:schemeClr val="accent1"/>
                </a:solidFill>
              </a:defRPr>
            </a:lvl1pPr>
          </a:lstStyle>
          <a:p>
            <a:r>
              <a:rPr lang="de-DE"/>
              <a:t>Title </a:t>
            </a:r>
            <a:r>
              <a:rPr lang="de-DE" err="1"/>
              <a:t>is</a:t>
            </a:r>
            <a:r>
              <a:rPr lang="de-DE"/>
              <a:t> </a:t>
            </a:r>
            <a:r>
              <a:rPr lang="de-DE" err="1"/>
              <a:t>set</a:t>
            </a:r>
            <a:r>
              <a:rPr lang="de-DE"/>
              <a:t> in Arial Light</a:t>
            </a:r>
            <a:br>
              <a:rPr lang="de-DE"/>
            </a:br>
            <a:r>
              <a:rPr lang="de-DE" err="1"/>
              <a:t>sentence</a:t>
            </a:r>
            <a:r>
              <a:rPr lang="de-DE"/>
              <a:t> </a:t>
            </a:r>
            <a:r>
              <a:rPr lang="de-DE" err="1"/>
              <a:t>case</a:t>
            </a:r>
            <a:r>
              <a:rPr lang="de-DE"/>
              <a:t> 36pt</a:t>
            </a:r>
            <a:endParaRPr lang="en-US"/>
          </a:p>
        </p:txBody>
      </p:sp>
      <p:sp>
        <p:nvSpPr>
          <p:cNvPr id="21" name="Text Placeholder 20"/>
          <p:cNvSpPr>
            <a:spLocks noGrp="1"/>
          </p:cNvSpPr>
          <p:nvPr>
            <p:ph type="body" sz="quarter" idx="13" hasCustomPrompt="1"/>
          </p:nvPr>
        </p:nvSpPr>
        <p:spPr bwMode="black">
          <a:xfrm>
            <a:off x="541991" y="4206736"/>
            <a:ext cx="7095938" cy="295994"/>
          </a:xfrm>
        </p:spPr>
        <p:txBody>
          <a:bodyPr/>
          <a:lstStyle>
            <a:lvl1pPr>
              <a:spcBef>
                <a:spcPts val="0"/>
              </a:spcBef>
              <a:spcAft>
                <a:spcPts val="0"/>
              </a:spcAft>
              <a:defRPr b="0">
                <a:solidFill>
                  <a:schemeClr val="accent6"/>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err="1"/>
              <a:t>Subtitle</a:t>
            </a:r>
            <a:r>
              <a:rPr lang="de-DE"/>
              <a:t> </a:t>
            </a:r>
            <a:r>
              <a:rPr lang="de-DE" err="1"/>
              <a:t>is</a:t>
            </a:r>
            <a:r>
              <a:rPr lang="de-DE"/>
              <a:t> </a:t>
            </a:r>
            <a:r>
              <a:rPr lang="de-DE" err="1"/>
              <a:t>set</a:t>
            </a:r>
            <a:r>
              <a:rPr lang="de-DE"/>
              <a:t> in Arial Regular 18pt</a:t>
            </a:r>
          </a:p>
        </p:txBody>
      </p:sp>
      <p:pic>
        <p:nvPicPr>
          <p:cNvPr id="12" name="Picture 11">
            <a:extLst>
              <a:ext uri="{FF2B5EF4-FFF2-40B4-BE49-F238E27FC236}">
                <a16:creationId xmlns:a16="http://schemas.microsoft.com/office/drawing/2014/main" id="{06E3F7AC-2F31-438F-8BBB-20569931F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49"/>
            <a:ext cx="12191999" cy="6857107"/>
          </a:xfrm>
          <a:prstGeom prst="rect">
            <a:avLst/>
          </a:prstGeom>
        </p:spPr>
      </p:pic>
      <p:sp>
        <p:nvSpPr>
          <p:cNvPr id="3" name="Rectangle 2">
            <a:extLst>
              <a:ext uri="{FF2B5EF4-FFF2-40B4-BE49-F238E27FC236}">
                <a16:creationId xmlns:a16="http://schemas.microsoft.com/office/drawing/2014/main" id="{8CC11D9D-EB90-4043-9898-75DD695A5FF1}"/>
              </a:ext>
            </a:extLst>
          </p:cNvPr>
          <p:cNvSpPr/>
          <p:nvPr userDrawn="1"/>
        </p:nvSpPr>
        <p:spPr bwMode="gray">
          <a:xfrm>
            <a:off x="349624" y="1425388"/>
            <a:ext cx="3756211" cy="11654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73606265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 Medical Affairs">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70F3F9D-98B9-408E-919D-3650F2975AB5}"/>
              </a:ext>
            </a:extLst>
          </p:cNvPr>
          <p:cNvPicPr>
            <a:picLocks/>
          </p:cNvPicPr>
          <p:nvPr userDrawn="1"/>
        </p:nvPicPr>
        <p:blipFill>
          <a:blip r:embed="rId2"/>
          <a:srcRect/>
          <a:stretch/>
        </p:blipFill>
        <p:spPr>
          <a:xfrm>
            <a:off x="2" y="1303"/>
            <a:ext cx="12188952" cy="6856285"/>
          </a:xfrm>
          <a:prstGeom prst="rect">
            <a:avLst/>
          </a:prstGeom>
        </p:spPr>
      </p:pic>
      <p:sp>
        <p:nvSpPr>
          <p:cNvPr id="20" name="Rectangle 19">
            <a:extLst>
              <a:ext uri="{FF2B5EF4-FFF2-40B4-BE49-F238E27FC236}">
                <a16:creationId xmlns:a16="http://schemas.microsoft.com/office/drawing/2014/main" id="{00AFC36A-37B1-4A09-A7C2-36248E5C66C0}"/>
              </a:ext>
            </a:extLst>
          </p:cNvPr>
          <p:cNvSpPr/>
          <p:nvPr userDrawn="1"/>
        </p:nvSpPr>
        <p:spPr bwMode="gray">
          <a:xfrm>
            <a:off x="0" y="0"/>
            <a:ext cx="12162622" cy="6858000"/>
          </a:xfrm>
          <a:prstGeom prst="rect">
            <a:avLst/>
          </a:prstGeom>
          <a:gradFill flip="none" rotWithShape="1">
            <a:gsLst>
              <a:gs pos="66000">
                <a:srgbClr val="10384F">
                  <a:alpha val="50000"/>
                </a:srgbClr>
              </a:gs>
              <a:gs pos="34000">
                <a:schemeClr val="accent1">
                  <a:alpha val="0"/>
                </a:schemeClr>
              </a:gs>
              <a:gs pos="96000">
                <a:schemeClr val="accent1">
                  <a:alpha val="7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Slide Number Placeholder 5"/>
          <p:cNvSpPr>
            <a:spLocks noGrp="1"/>
          </p:cNvSpPr>
          <p:nvPr>
            <p:ph type="sldNum" sz="quarter" idx="12"/>
          </p:nvPr>
        </p:nvSpPr>
        <p:spPr bwMode="gray"/>
        <p:txBody>
          <a:bodyPr/>
          <a:lstStyle>
            <a:lvl1pPr>
              <a:defRPr>
                <a:solidFill>
                  <a:schemeClr val="accent1">
                    <a:lumMod val="10000"/>
                    <a:lumOff val="90000"/>
                  </a:schemeClr>
                </a:solid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pic>
        <p:nvPicPr>
          <p:cNvPr id="13" name="Picture 2">
            <a:hlinkClick r:id="" action="ppaction://noaction"/>
            <a:extLst>
              <a:ext uri="{FF2B5EF4-FFF2-40B4-BE49-F238E27FC236}">
                <a16:creationId xmlns:a16="http://schemas.microsoft.com/office/drawing/2014/main" id="{74DD821E-0BEA-4333-816B-39A4E252D13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gray">
          <a:xfrm>
            <a:off x="11207827" y="191541"/>
            <a:ext cx="768792" cy="76879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8B4A394-4C7B-491E-A88B-E61032AE17EC}"/>
              </a:ext>
            </a:extLst>
          </p:cNvPr>
          <p:cNvSpPr>
            <a:spLocks noGrp="1"/>
          </p:cNvSpPr>
          <p:nvPr>
            <p:ph type="title"/>
          </p:nvPr>
        </p:nvSpPr>
        <p:spPr>
          <a:xfrm>
            <a:off x="392003" y="959921"/>
            <a:ext cx="10957477" cy="864000"/>
          </a:xfrm>
        </p:spPr>
        <p:txBody>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01678933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 Text slide | Medical Affair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9306" y="181938"/>
            <a:ext cx="10684867" cy="864000"/>
          </a:xfrm>
        </p:spPr>
        <p:txBody>
          <a:bodyPr/>
          <a:lstStyle>
            <a:lvl1pPr>
              <a:defRPr sz="2000"/>
            </a:lvl1pPr>
          </a:lstStyle>
          <a:p>
            <a:r>
              <a:rPr lang="en-US"/>
              <a:t>Click to edit Master title style</a:t>
            </a:r>
          </a:p>
        </p:txBody>
      </p:sp>
      <p:sp>
        <p:nvSpPr>
          <p:cNvPr id="13" name="Text Placeholder 12"/>
          <p:cNvSpPr>
            <a:spLocks noGrp="1"/>
          </p:cNvSpPr>
          <p:nvPr>
            <p:ph type="body" sz="quarter" idx="13"/>
          </p:nvPr>
        </p:nvSpPr>
        <p:spPr>
          <a:xfrm>
            <a:off x="457766" y="1491454"/>
            <a:ext cx="10686773" cy="2811953"/>
          </a:xfrm>
        </p:spPr>
        <p:txBody>
          <a:bodyPr/>
          <a:lstStyle>
            <a:lvl1pPr>
              <a:defRPr sz="1400"/>
            </a:lvl1pPr>
            <a:lvl2pPr>
              <a:defRPr sz="14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12"/>
          </p:nvPr>
        </p:nvSpPr>
        <p:spPr bwMode="gray">
          <a:xfrm>
            <a:off x="195844" y="6617933"/>
            <a:ext cx="392326" cy="108000"/>
          </a:xfrm>
        </p:spPr>
        <p:txBody>
          <a:bodyPr/>
          <a:lstStyle>
            <a:lvl1pPr>
              <a:defRPr>
                <a:solidFill>
                  <a:schemeClr val="accent2"/>
                </a:solidFill>
              </a:defRPr>
            </a:lvl1pPr>
          </a:lstStyle>
          <a:p>
            <a:fld id="{EEAD9179-7A6B-4268-BEB2-F3B8EB06115B}" type="slidenum">
              <a:rPr lang="en-US" smtClean="0"/>
              <a:pPr/>
              <a:t>‹#›</a:t>
            </a:fld>
            <a:endParaRPr lang="en-US"/>
          </a:p>
        </p:txBody>
      </p:sp>
      <p:sp>
        <p:nvSpPr>
          <p:cNvPr id="3" name="Text Placeholder 12">
            <a:extLst>
              <a:ext uri="{FF2B5EF4-FFF2-40B4-BE49-F238E27FC236}">
                <a16:creationId xmlns:a16="http://schemas.microsoft.com/office/drawing/2014/main" id="{758C7C20-0F60-1238-7B65-64BFF8BF234E}"/>
              </a:ext>
            </a:extLst>
          </p:cNvPr>
          <p:cNvSpPr>
            <a:spLocks noGrp="1"/>
          </p:cNvSpPr>
          <p:nvPr>
            <p:ph type="body" sz="quarter" idx="14" hasCustomPrompt="1"/>
          </p:nvPr>
        </p:nvSpPr>
        <p:spPr>
          <a:xfrm>
            <a:off x="1706114" y="6561541"/>
            <a:ext cx="8770647" cy="205212"/>
          </a:xfrm>
          <a:prstGeom prst="rect">
            <a:avLst/>
          </a:prstGeom>
        </p:spPr>
        <p:txBody>
          <a:bodyPr anchor="b" anchorCtr="0"/>
          <a:lstStyle>
            <a:lvl1pPr algn="l">
              <a:spcBef>
                <a:spcPts val="0"/>
              </a:spcBef>
              <a:spcAft>
                <a:spcPts val="0"/>
              </a:spcAft>
              <a:defRPr sz="900"/>
            </a:lvl1pPr>
          </a:lstStyle>
          <a:p>
            <a:pPr lvl="0"/>
            <a:r>
              <a:rPr lang="en-US"/>
              <a:t>Abbreviations</a:t>
            </a:r>
          </a:p>
        </p:txBody>
      </p:sp>
    </p:spTree>
    <p:extLst>
      <p:ext uri="{BB962C8B-B14F-4D97-AF65-F5344CB8AC3E}">
        <p14:creationId xmlns:p14="http://schemas.microsoft.com/office/powerpoint/2010/main" val="30601751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44682" y="1238251"/>
            <a:ext cx="11544145" cy="5194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03233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5AADF22-57BE-5644-9C47-1004662BB291}"/>
              </a:ext>
            </a:extLst>
          </p:cNvPr>
          <p:cNvPicPr>
            <a:picLocks noChangeAspect="1"/>
          </p:cNvPicPr>
          <p:nvPr userDrawn="1"/>
        </p:nvPicPr>
        <p:blipFill>
          <a:blip r:embed="rId2"/>
          <a:srcRect/>
          <a:stretch/>
        </p:blipFill>
        <p:spPr>
          <a:xfrm>
            <a:off x="0" y="0"/>
            <a:ext cx="12192000" cy="6858000"/>
          </a:xfrm>
          <a:prstGeom prst="rect">
            <a:avLst/>
          </a:prstGeom>
        </p:spPr>
      </p:pic>
      <p:sp>
        <p:nvSpPr>
          <p:cNvPr id="3" name="Subtitle 2"/>
          <p:cNvSpPr>
            <a:spLocks noGrp="1"/>
          </p:cNvSpPr>
          <p:nvPr>
            <p:ph type="subTitle" idx="1"/>
          </p:nvPr>
        </p:nvSpPr>
        <p:spPr bwMode="gray">
          <a:xfrm>
            <a:off x="4025739" y="3054609"/>
            <a:ext cx="7392222" cy="592952"/>
          </a:xfrm>
        </p:spPr>
        <p:txBody>
          <a:bodyPr anchor="b"/>
          <a:lstStyle>
            <a:lvl1pPr marL="0" indent="0" algn="r">
              <a:buNone/>
              <a:defRPr sz="21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pPr algn="r"/>
            <a:endParaRPr lang="en-US" sz="2100">
              <a:solidFill>
                <a:schemeClr val="bg1"/>
              </a:solidFill>
              <a:latin typeface="Arial" panose="020B0604020202020204" pitchFamily="34" charset="0"/>
              <a:cs typeface="Arial" panose="020B0604020202020204" pitchFamily="34" charset="0"/>
            </a:endParaRPr>
          </a:p>
        </p:txBody>
      </p:sp>
      <p:sp>
        <p:nvSpPr>
          <p:cNvPr id="21" name="Text Placeholder 20"/>
          <p:cNvSpPr>
            <a:spLocks noGrp="1"/>
          </p:cNvSpPr>
          <p:nvPr>
            <p:ph type="body" sz="quarter" idx="13"/>
          </p:nvPr>
        </p:nvSpPr>
        <p:spPr bwMode="gray">
          <a:xfrm>
            <a:off x="7817962" y="6192986"/>
            <a:ext cx="3600000" cy="238811"/>
          </a:xfrm>
        </p:spPr>
        <p:txBody>
          <a:bodyPr anchor="ctr"/>
          <a:lstStyle>
            <a:lvl1pPr algn="r">
              <a:spcBef>
                <a:spcPts val="0"/>
              </a:spcBef>
              <a:spcAft>
                <a:spcPts val="0"/>
              </a:spcAft>
              <a:defRPr sz="1200" b="0">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p:txBody>
      </p:sp>
      <p:sp>
        <p:nvSpPr>
          <p:cNvPr id="4" name="Title 3">
            <a:extLst>
              <a:ext uri="{FF2B5EF4-FFF2-40B4-BE49-F238E27FC236}">
                <a16:creationId xmlns:a16="http://schemas.microsoft.com/office/drawing/2014/main" id="{3255CE6D-5EF3-4419-9F4A-FABB73D91E4E}"/>
              </a:ext>
            </a:extLst>
          </p:cNvPr>
          <p:cNvSpPr>
            <a:spLocks noGrp="1"/>
          </p:cNvSpPr>
          <p:nvPr>
            <p:ph type="title"/>
          </p:nvPr>
        </p:nvSpPr>
        <p:spPr>
          <a:xfrm>
            <a:off x="3377985" y="1591195"/>
            <a:ext cx="8166261" cy="1515981"/>
          </a:xfrm>
        </p:spPr>
        <p:txBody>
          <a:bodyPr/>
          <a:lstStyle>
            <a:lvl1pPr algn="r">
              <a:defRPr sz="4000"/>
            </a:lvl1pPr>
          </a:lstStyle>
          <a:p>
            <a:r>
              <a:rPr lang="en-US"/>
              <a:t>Click to edit Master title style</a:t>
            </a:r>
          </a:p>
        </p:txBody>
      </p:sp>
      <p:pic>
        <p:nvPicPr>
          <p:cNvPr id="2" name="Grafik 1">
            <a:extLst>
              <a:ext uri="{FF2B5EF4-FFF2-40B4-BE49-F238E27FC236}">
                <a16:creationId xmlns:a16="http://schemas.microsoft.com/office/drawing/2014/main" id="{4438A736-8807-6C98-42C8-B5557342961B}"/>
              </a:ext>
            </a:extLst>
          </p:cNvPr>
          <p:cNvPicPr>
            <a:picLocks noChangeAspect="1"/>
          </p:cNvPicPr>
          <p:nvPr userDrawn="1"/>
        </p:nvPicPr>
        <p:blipFill rotWithShape="1">
          <a:blip r:embed="rId3"/>
          <a:srcRect r="42269"/>
          <a:stretch/>
        </p:blipFill>
        <p:spPr>
          <a:xfrm>
            <a:off x="1371352" y="130232"/>
            <a:ext cx="1354869" cy="920576"/>
          </a:xfrm>
          <a:prstGeom prst="rect">
            <a:avLst/>
          </a:prstGeom>
        </p:spPr>
      </p:pic>
    </p:spTree>
    <p:extLst>
      <p:ext uri="{BB962C8B-B14F-4D97-AF65-F5344CB8AC3E}">
        <p14:creationId xmlns:p14="http://schemas.microsoft.com/office/powerpoint/2010/main" val="243255812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slide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1EB75A-C591-401F-AF89-9D380C47F27C}"/>
              </a:ext>
            </a:extLst>
          </p:cNvPr>
          <p:cNvPicPr>
            <a:picLocks noChangeAspect="1"/>
          </p:cNvPicPr>
          <p:nvPr userDrawn="1"/>
        </p:nvPicPr>
        <p:blipFill>
          <a:blip r:embed="rId2"/>
          <a:srcRect/>
          <a:stretch/>
        </p:blipFill>
        <p:spPr>
          <a:xfrm>
            <a:off x="0" y="0"/>
            <a:ext cx="12192000" cy="6858000"/>
          </a:xfrm>
          <a:prstGeom prst="rect">
            <a:avLst/>
          </a:prstGeom>
        </p:spPr>
      </p:pic>
      <p:sp>
        <p:nvSpPr>
          <p:cNvPr id="3" name="Subtitle 2"/>
          <p:cNvSpPr>
            <a:spLocks noGrp="1"/>
          </p:cNvSpPr>
          <p:nvPr>
            <p:ph type="subTitle" idx="1"/>
          </p:nvPr>
        </p:nvSpPr>
        <p:spPr bwMode="gray">
          <a:xfrm>
            <a:off x="4025739" y="3054609"/>
            <a:ext cx="7392222" cy="592952"/>
          </a:xfrm>
        </p:spPr>
        <p:txBody>
          <a:bodyPr anchor="b"/>
          <a:lstStyle>
            <a:lvl1pPr marL="0" indent="0" algn="r">
              <a:buNone/>
              <a:defRPr sz="21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pPr algn="r"/>
            <a:endParaRPr lang="en-US" sz="2100">
              <a:solidFill>
                <a:schemeClr val="bg1"/>
              </a:solidFill>
              <a:latin typeface="Arial" panose="020B0604020202020204" pitchFamily="34" charset="0"/>
              <a:cs typeface="Arial" panose="020B0604020202020204" pitchFamily="34" charset="0"/>
            </a:endParaRPr>
          </a:p>
        </p:txBody>
      </p:sp>
      <p:sp>
        <p:nvSpPr>
          <p:cNvPr id="21" name="Text Placeholder 20"/>
          <p:cNvSpPr>
            <a:spLocks noGrp="1"/>
          </p:cNvSpPr>
          <p:nvPr>
            <p:ph type="body" sz="quarter" idx="13"/>
          </p:nvPr>
        </p:nvSpPr>
        <p:spPr bwMode="gray">
          <a:xfrm>
            <a:off x="7817962" y="6192986"/>
            <a:ext cx="3600000" cy="238811"/>
          </a:xfrm>
        </p:spPr>
        <p:txBody>
          <a:bodyPr anchor="ctr"/>
          <a:lstStyle>
            <a:lvl1pPr algn="r">
              <a:spcBef>
                <a:spcPts val="0"/>
              </a:spcBef>
              <a:spcAft>
                <a:spcPts val="0"/>
              </a:spcAft>
              <a:defRPr sz="1200" b="0">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p:txBody>
      </p:sp>
      <p:sp>
        <p:nvSpPr>
          <p:cNvPr id="4" name="Title 3">
            <a:extLst>
              <a:ext uri="{FF2B5EF4-FFF2-40B4-BE49-F238E27FC236}">
                <a16:creationId xmlns:a16="http://schemas.microsoft.com/office/drawing/2014/main" id="{3255CE6D-5EF3-4419-9F4A-FABB73D91E4E}"/>
              </a:ext>
            </a:extLst>
          </p:cNvPr>
          <p:cNvSpPr>
            <a:spLocks noGrp="1"/>
          </p:cNvSpPr>
          <p:nvPr>
            <p:ph type="title"/>
          </p:nvPr>
        </p:nvSpPr>
        <p:spPr>
          <a:xfrm>
            <a:off x="3377985" y="1591195"/>
            <a:ext cx="8166261" cy="1515981"/>
          </a:xfrm>
        </p:spPr>
        <p:txBody>
          <a:bodyPr/>
          <a:lstStyle>
            <a:lvl1pPr algn="r">
              <a:defRPr sz="4000"/>
            </a:lvl1pPr>
          </a:lstStyle>
          <a:p>
            <a:r>
              <a:rPr lang="en-US"/>
              <a:t>Click to edit Master title style</a:t>
            </a:r>
          </a:p>
        </p:txBody>
      </p:sp>
    </p:spTree>
    <p:extLst>
      <p:ext uri="{BB962C8B-B14F-4D97-AF65-F5344CB8AC3E}">
        <p14:creationId xmlns:p14="http://schemas.microsoft.com/office/powerpoint/2010/main" val="295616551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on slid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BB05317-17DF-487F-B85C-CEEFDC19C559}"/>
              </a:ext>
            </a:extLst>
          </p:cNvPr>
          <p:cNvPicPr>
            <a:picLocks noChangeAspect="1"/>
          </p:cNvPicPr>
          <p:nvPr userDrawn="1"/>
        </p:nvPicPr>
        <p:blipFill>
          <a:blip r:embed="rId2"/>
          <a:srcRect/>
          <a:stretch/>
        </p:blipFill>
        <p:spPr>
          <a:xfrm>
            <a:off x="0" y="0"/>
            <a:ext cx="12192000" cy="6858000"/>
          </a:xfrm>
          <a:prstGeom prst="rect">
            <a:avLst/>
          </a:prstGeom>
        </p:spPr>
      </p:pic>
      <p:sp>
        <p:nvSpPr>
          <p:cNvPr id="3" name="Subtitle 2"/>
          <p:cNvSpPr>
            <a:spLocks noGrp="1"/>
          </p:cNvSpPr>
          <p:nvPr>
            <p:ph type="subTitle" idx="1"/>
          </p:nvPr>
        </p:nvSpPr>
        <p:spPr bwMode="gray">
          <a:xfrm>
            <a:off x="4025739" y="3054609"/>
            <a:ext cx="7392222" cy="592952"/>
          </a:xfrm>
        </p:spPr>
        <p:txBody>
          <a:bodyPr anchor="b"/>
          <a:lstStyle>
            <a:lvl1pPr marL="0" indent="0" algn="r">
              <a:buNone/>
              <a:defRPr sz="21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pPr algn="r"/>
            <a:endParaRPr lang="en-US" sz="2100">
              <a:solidFill>
                <a:schemeClr val="bg1"/>
              </a:solidFill>
              <a:latin typeface="Arial" panose="020B0604020202020204" pitchFamily="34" charset="0"/>
              <a:cs typeface="Arial" panose="020B0604020202020204" pitchFamily="34" charset="0"/>
            </a:endParaRPr>
          </a:p>
        </p:txBody>
      </p:sp>
      <p:sp>
        <p:nvSpPr>
          <p:cNvPr id="21" name="Text Placeholder 20"/>
          <p:cNvSpPr>
            <a:spLocks noGrp="1"/>
          </p:cNvSpPr>
          <p:nvPr>
            <p:ph type="body" sz="quarter" idx="13"/>
          </p:nvPr>
        </p:nvSpPr>
        <p:spPr bwMode="gray">
          <a:xfrm>
            <a:off x="7817962" y="6192986"/>
            <a:ext cx="3600000" cy="238811"/>
          </a:xfrm>
        </p:spPr>
        <p:txBody>
          <a:bodyPr anchor="ctr"/>
          <a:lstStyle>
            <a:lvl1pPr algn="r">
              <a:spcBef>
                <a:spcPts val="0"/>
              </a:spcBef>
              <a:spcAft>
                <a:spcPts val="0"/>
              </a:spcAft>
              <a:defRPr sz="1200" b="0">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p:txBody>
      </p:sp>
      <p:sp>
        <p:nvSpPr>
          <p:cNvPr id="4" name="Title 3">
            <a:extLst>
              <a:ext uri="{FF2B5EF4-FFF2-40B4-BE49-F238E27FC236}">
                <a16:creationId xmlns:a16="http://schemas.microsoft.com/office/drawing/2014/main" id="{3255CE6D-5EF3-4419-9F4A-FABB73D91E4E}"/>
              </a:ext>
            </a:extLst>
          </p:cNvPr>
          <p:cNvSpPr>
            <a:spLocks noGrp="1"/>
          </p:cNvSpPr>
          <p:nvPr>
            <p:ph type="title"/>
          </p:nvPr>
        </p:nvSpPr>
        <p:spPr>
          <a:xfrm>
            <a:off x="3377985" y="1591195"/>
            <a:ext cx="8166261" cy="1515981"/>
          </a:xfrm>
        </p:spPr>
        <p:txBody>
          <a:bodyPr/>
          <a:lstStyle>
            <a:lvl1pPr algn="r">
              <a:defRPr sz="4000"/>
            </a:lvl1pPr>
          </a:lstStyle>
          <a:p>
            <a:r>
              <a:rPr lang="en-US"/>
              <a:t>Click to edit Master title style</a:t>
            </a:r>
          </a:p>
        </p:txBody>
      </p:sp>
    </p:spTree>
    <p:extLst>
      <p:ext uri="{BB962C8B-B14F-4D97-AF65-F5344CB8AC3E}">
        <p14:creationId xmlns:p14="http://schemas.microsoft.com/office/powerpoint/2010/main" val="18101608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o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3284" y="187691"/>
            <a:ext cx="10798460" cy="782031"/>
          </a:xfrm>
        </p:spPr>
        <p:txBody>
          <a:bodyPr/>
          <a:lstStyle>
            <a:lvl1pPr>
              <a:defRPr/>
            </a:lvl1pPr>
          </a:lstStyle>
          <a:p>
            <a:r>
              <a:rPr lang="en-US"/>
              <a:t>Click to edit Master title style</a:t>
            </a:r>
          </a:p>
        </p:txBody>
      </p:sp>
      <p:sp>
        <p:nvSpPr>
          <p:cNvPr id="11" name="Text Placeholder 10"/>
          <p:cNvSpPr>
            <a:spLocks noGrp="1"/>
          </p:cNvSpPr>
          <p:nvPr>
            <p:ph type="body" sz="quarter" idx="14"/>
          </p:nvPr>
        </p:nvSpPr>
        <p:spPr bwMode="gray">
          <a:xfrm>
            <a:off x="490403" y="1295401"/>
            <a:ext cx="11192112" cy="49911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2C54F63-F91E-4FB9-B337-0BF43F37959B}"/>
              </a:ext>
            </a:extLst>
          </p:cNvPr>
          <p:cNvSpPr>
            <a:spLocks noGrp="1"/>
          </p:cNvSpPr>
          <p:nvPr>
            <p:ph type="ftr" sz="quarter" idx="15"/>
          </p:nvPr>
        </p:nvSpPr>
        <p:spPr>
          <a:xfrm>
            <a:off x="512527" y="6476516"/>
            <a:ext cx="9555399" cy="320673"/>
          </a:xfrm>
          <a:prstGeom prst="rect">
            <a:avLst/>
          </a:prstGeom>
        </p:spPr>
        <p:txBody>
          <a:bodyPr/>
          <a:lstStyle/>
          <a:p>
            <a:endParaRPr lang="en-US"/>
          </a:p>
        </p:txBody>
      </p:sp>
      <p:sp>
        <p:nvSpPr>
          <p:cNvPr id="7" name="Slide Number Placeholder 5">
            <a:extLst>
              <a:ext uri="{FF2B5EF4-FFF2-40B4-BE49-F238E27FC236}">
                <a16:creationId xmlns:a16="http://schemas.microsoft.com/office/drawing/2014/main" id="{EB95BA83-424D-406D-B8AC-CCB049754B27}"/>
              </a:ext>
            </a:extLst>
          </p:cNvPr>
          <p:cNvSpPr>
            <a:spLocks noGrp="1"/>
          </p:cNvSpPr>
          <p:nvPr>
            <p:ph type="sldNum" sz="quarter" idx="4"/>
          </p:nvPr>
        </p:nvSpPr>
        <p:spPr bwMode="gray">
          <a:xfrm>
            <a:off x="10067926" y="6617933"/>
            <a:ext cx="392326" cy="108000"/>
          </a:xfrm>
          <a:prstGeom prst="rect">
            <a:avLst/>
          </a:prstGeom>
        </p:spPr>
        <p:txBody>
          <a:bodyPr vert="horz" lIns="0" tIns="0" rIns="0" bIns="0" rtlCol="0" anchor="t">
            <a:noAutofit/>
          </a:bodyPr>
          <a:lstStyle>
            <a:lvl1pPr algn="ctr">
              <a:defRPr sz="700">
                <a:solidFill>
                  <a:schemeClr val="tx1">
                    <a:lumMod val="50000"/>
                    <a:lumOff val="50000"/>
                  </a:schemeClr>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spTree>
    <p:extLst>
      <p:ext uri="{BB962C8B-B14F-4D97-AF65-F5344CB8AC3E}">
        <p14:creationId xmlns:p14="http://schemas.microsoft.com/office/powerpoint/2010/main" val="336658524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BF71A2E-1D04-F441-844E-0C2009443253}"/>
              </a:ext>
            </a:extLst>
          </p:cNvPr>
          <p:cNvSpPr>
            <a:spLocks noGrp="1"/>
          </p:cNvSpPr>
          <p:nvPr>
            <p:ph idx="1"/>
          </p:nvPr>
        </p:nvSpPr>
        <p:spPr>
          <a:xfrm>
            <a:off x="495237" y="1825625"/>
            <a:ext cx="9482353" cy="4351338"/>
          </a:xfrm>
        </p:spPr>
        <p:txBody>
          <a:bodyPr/>
          <a:lstStyle>
            <a:lvl2pPr>
              <a:defRPr>
                <a:solidFill>
                  <a:schemeClr val="tx2"/>
                </a:solidFill>
              </a:defRPr>
            </a:lvl2pPr>
            <a:lvl3pPr>
              <a:defRPr>
                <a:solidFill>
                  <a:schemeClr val="tx2"/>
                </a:solidFill>
              </a:defRPr>
            </a:lvl3pPr>
            <a:lvl4pPr>
              <a:defRPr sz="1800">
                <a:solidFill>
                  <a:schemeClr val="tx2"/>
                </a:solidFill>
              </a:defRPr>
            </a:lvl4pPr>
            <a:lvl5pPr>
              <a:defRPr sz="16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703CBD74-E145-9A4B-AF40-81075C209E23}"/>
              </a:ext>
            </a:extLst>
          </p:cNvPr>
          <p:cNvSpPr>
            <a:spLocks noGrp="1"/>
          </p:cNvSpPr>
          <p:nvPr>
            <p:ph type="dt" sz="half" idx="10"/>
          </p:nvPr>
        </p:nvSpPr>
        <p:spPr/>
        <p:txBody>
          <a:bodyPr/>
          <a:lstStyle/>
          <a:p>
            <a:fld id="{857150E0-9EAA-5C40-BC48-0E092ADAF3D4}" type="datetime1">
              <a:rPr lang="en-US" smtClean="0"/>
              <a:t>6/7/2024</a:t>
            </a:fld>
            <a:endParaRPr lang="en-US"/>
          </a:p>
        </p:txBody>
      </p:sp>
      <p:sp>
        <p:nvSpPr>
          <p:cNvPr id="10" name="Slide Number Placeholder 9">
            <a:extLst>
              <a:ext uri="{FF2B5EF4-FFF2-40B4-BE49-F238E27FC236}">
                <a16:creationId xmlns:a16="http://schemas.microsoft.com/office/drawing/2014/main" id="{ACF16414-ED7A-D44A-AFDC-E4C657FC79A8}"/>
              </a:ext>
            </a:extLst>
          </p:cNvPr>
          <p:cNvSpPr>
            <a:spLocks noGrp="1"/>
          </p:cNvSpPr>
          <p:nvPr>
            <p:ph type="sldNum" sz="quarter" idx="12"/>
          </p:nvPr>
        </p:nvSpPr>
        <p:spPr/>
        <p:txBody>
          <a:bodyPr/>
          <a:lstStyle/>
          <a:p>
            <a:fld id="{C0AFECD8-B8AF-5C4E-B306-A0438013ED66}" type="slidenum">
              <a:rPr lang="en-US" smtClean="0"/>
              <a:t>‹#›</a:t>
            </a:fld>
            <a:endParaRPr lang="en-US"/>
          </a:p>
        </p:txBody>
      </p:sp>
      <p:sp>
        <p:nvSpPr>
          <p:cNvPr id="5" name="Title 4">
            <a:extLst>
              <a:ext uri="{FF2B5EF4-FFF2-40B4-BE49-F238E27FC236}">
                <a16:creationId xmlns:a16="http://schemas.microsoft.com/office/drawing/2014/main" id="{052EDBEE-768C-C240-92F5-019B7286C221}"/>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4779DD2-9B55-471F-A3DE-57A372159B44}"/>
              </a:ext>
            </a:extLst>
          </p:cNvPr>
          <p:cNvSpPr>
            <a:spLocks noGrp="1"/>
          </p:cNvSpPr>
          <p:nvPr>
            <p:ph type="ftr" sz="quarter" idx="11"/>
          </p:nvPr>
        </p:nvSpPr>
        <p:spPr>
          <a:xfrm>
            <a:off x="3717664" y="6320765"/>
            <a:ext cx="5063857" cy="460045"/>
          </a:xfrm>
          <a:prstGeom prst="rect">
            <a:avLst/>
          </a:prstGeom>
        </p:spPr>
        <p:txBody>
          <a:bodyPr vert="horz" lIns="91440" tIns="45720" rIns="91440" bIns="45720" rtlCol="0" anchor="ctr">
            <a:normAutofit/>
          </a:bodyPr>
          <a:lstStyle/>
          <a:p>
            <a:pPr>
              <a:spcAft>
                <a:spcPts val="600"/>
              </a:spcAft>
            </a:pPr>
            <a:r>
              <a:rPr lang="en-US" sz="1200"/>
              <a:t>CONFIDENTIAL, NOT TO BE CIRCULATED WITHOUT PERMISSION</a:t>
            </a:r>
          </a:p>
        </p:txBody>
      </p:sp>
    </p:spTree>
    <p:extLst>
      <p:ext uri="{BB962C8B-B14F-4D97-AF65-F5344CB8AC3E}">
        <p14:creationId xmlns:p14="http://schemas.microsoft.com/office/powerpoint/2010/main" val="34082667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Orion+Bayer Divider 2">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742" y="668774"/>
            <a:ext cx="7488924" cy="3152343"/>
          </a:xfrm>
          <a:prstGeom prst="rect">
            <a:avLst/>
          </a:prstGeom>
        </p:spPr>
        <p:txBody>
          <a:bodyPr anchor="b">
            <a:noAutofit/>
          </a:bodyPr>
          <a:lstStyle>
            <a:lvl1pPr>
              <a:defRPr sz="7199">
                <a:solidFill>
                  <a:schemeClr val="bg1"/>
                </a:solidFill>
              </a:defRPr>
            </a:lvl1pPr>
          </a:lstStyle>
          <a:p>
            <a:r>
              <a:rPr lang="en-US"/>
              <a:t>Click to edit Master title style</a:t>
            </a:r>
          </a:p>
        </p:txBody>
      </p:sp>
    </p:spTree>
    <p:extLst>
      <p:ext uri="{BB962C8B-B14F-4D97-AF65-F5344CB8AC3E}">
        <p14:creationId xmlns:p14="http://schemas.microsoft.com/office/powerpoint/2010/main" val="24121111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1 Text slide | Medical Affair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9306" y="181938"/>
            <a:ext cx="10684867" cy="864000"/>
          </a:xfrm>
        </p:spPr>
        <p:txBody>
          <a:bodyPr/>
          <a:lstStyle>
            <a:lvl1pPr>
              <a:defRPr sz="2000"/>
            </a:lvl1pPr>
          </a:lstStyle>
          <a:p>
            <a:r>
              <a:rPr lang="en-US"/>
              <a:t>Click to edit Master title style</a:t>
            </a:r>
          </a:p>
        </p:txBody>
      </p:sp>
      <p:sp>
        <p:nvSpPr>
          <p:cNvPr id="13" name="Text Placeholder 12"/>
          <p:cNvSpPr>
            <a:spLocks noGrp="1"/>
          </p:cNvSpPr>
          <p:nvPr>
            <p:ph type="body" sz="quarter" idx="13"/>
          </p:nvPr>
        </p:nvSpPr>
        <p:spPr>
          <a:xfrm>
            <a:off x="457766" y="1491454"/>
            <a:ext cx="10686773" cy="2811953"/>
          </a:xfrm>
        </p:spPr>
        <p:txBody>
          <a:bodyPr/>
          <a:lstStyle>
            <a:lvl1pPr>
              <a:defRPr sz="1400"/>
            </a:lvl1pPr>
            <a:lvl2pPr>
              <a:defRPr sz="14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12"/>
          </p:nvPr>
        </p:nvSpPr>
        <p:spPr bwMode="gray">
          <a:xfrm>
            <a:off x="195844" y="6617933"/>
            <a:ext cx="392326" cy="108000"/>
          </a:xfrm>
        </p:spPr>
        <p:txBody>
          <a:bodyPr/>
          <a:lstStyle>
            <a:lvl1pPr>
              <a:defRPr>
                <a:solidFill>
                  <a:schemeClr val="accent2"/>
                </a:solidFill>
              </a:defRPr>
            </a:lvl1pPr>
          </a:lstStyle>
          <a:p>
            <a:fld id="{EEAD9179-7A6B-4268-BEB2-F3B8EB06115B}" type="slidenum">
              <a:rPr lang="en-US" smtClean="0"/>
              <a:pPr/>
              <a:t>‹#›</a:t>
            </a:fld>
            <a:endParaRPr lang="en-US"/>
          </a:p>
        </p:txBody>
      </p:sp>
      <p:sp>
        <p:nvSpPr>
          <p:cNvPr id="4" name="Footer Placeholder 4">
            <a:extLst>
              <a:ext uri="{FF2B5EF4-FFF2-40B4-BE49-F238E27FC236}">
                <a16:creationId xmlns:a16="http://schemas.microsoft.com/office/drawing/2014/main" id="{E40F5C9B-3325-6452-5C41-2EFF6E0BE89C}"/>
              </a:ext>
            </a:extLst>
          </p:cNvPr>
          <p:cNvSpPr>
            <a:spLocks noGrp="1"/>
          </p:cNvSpPr>
          <p:nvPr>
            <p:ph type="ftr" sz="quarter" idx="3"/>
          </p:nvPr>
        </p:nvSpPr>
        <p:spPr>
          <a:xfrm>
            <a:off x="594283" y="6400800"/>
            <a:ext cx="8955978" cy="457200"/>
          </a:xfrm>
          <a:prstGeom prst="rect">
            <a:avLst/>
          </a:prstGeom>
        </p:spPr>
        <p:txBody>
          <a:bodyPr vert="horz" lIns="91440" tIns="45720" rIns="91440" bIns="45720" rtlCol="0" anchor="b" anchorCtr="0"/>
          <a:lstStyle>
            <a:lvl1pPr algn="l">
              <a:defRPr sz="900">
                <a:solidFill>
                  <a:schemeClr val="tx1"/>
                </a:solidFill>
              </a:defRPr>
            </a:lvl1pPr>
          </a:lstStyle>
          <a:p>
            <a:endParaRPr lang="en-US"/>
          </a:p>
        </p:txBody>
      </p:sp>
    </p:spTree>
    <p:extLst>
      <p:ext uri="{BB962C8B-B14F-4D97-AF65-F5344CB8AC3E}">
        <p14:creationId xmlns:p14="http://schemas.microsoft.com/office/powerpoint/2010/main" val="84680064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Text slide | Medical Affair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9306" y="181938"/>
            <a:ext cx="10684867" cy="864000"/>
          </a:xfrm>
        </p:spPr>
        <p:txBody>
          <a:bodyPr/>
          <a:lstStyle>
            <a:lvl1pPr>
              <a:defRPr sz="2000"/>
            </a:lvl1pPr>
          </a:lstStyle>
          <a:p>
            <a:r>
              <a:rPr lang="en-US"/>
              <a:t>Click to edit Master title style</a:t>
            </a:r>
          </a:p>
        </p:txBody>
      </p:sp>
      <p:sp>
        <p:nvSpPr>
          <p:cNvPr id="13" name="Text Placeholder 12"/>
          <p:cNvSpPr>
            <a:spLocks noGrp="1"/>
          </p:cNvSpPr>
          <p:nvPr>
            <p:ph type="body" sz="quarter" idx="13"/>
          </p:nvPr>
        </p:nvSpPr>
        <p:spPr>
          <a:xfrm>
            <a:off x="457766" y="1491454"/>
            <a:ext cx="10686773" cy="28119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12"/>
          </p:nvPr>
        </p:nvSpPr>
        <p:spPr bwMode="gray">
          <a:xfrm>
            <a:off x="148225" y="6617933"/>
            <a:ext cx="392326" cy="108000"/>
          </a:xfrm>
        </p:spPr>
        <p:txBody>
          <a:bodyPr/>
          <a:lstStyle>
            <a:lvl1pPr>
              <a:defRPr>
                <a:solidFill>
                  <a:schemeClr val="accent2"/>
                </a:solidFill>
              </a:defRPr>
            </a:lvl1pPr>
          </a:lstStyle>
          <a:p>
            <a:pPr defTabSz="914309">
              <a:defRPr/>
            </a:pPr>
            <a:fld id="{EEAD9179-7A6B-4268-BEB2-F3B8EB06115B}" type="slidenum">
              <a:rPr lang="en-US" smtClean="0">
                <a:solidFill>
                  <a:srgbClr val="00BCFF"/>
                </a:solidFill>
              </a:rPr>
              <a:pPr defTabSz="914309">
                <a:defRPr/>
              </a:pPr>
              <a:t>‹#›</a:t>
            </a:fld>
            <a:endParaRPr lang="en-US">
              <a:solidFill>
                <a:srgbClr val="00BCFF"/>
              </a:solidFill>
            </a:endParaRPr>
          </a:p>
        </p:txBody>
      </p:sp>
      <p:sp>
        <p:nvSpPr>
          <p:cNvPr id="3" name="Text Placeholder 12">
            <a:extLst>
              <a:ext uri="{FF2B5EF4-FFF2-40B4-BE49-F238E27FC236}">
                <a16:creationId xmlns:a16="http://schemas.microsoft.com/office/drawing/2014/main" id="{688C28C4-07E3-BBAB-70CE-B8286D62BAED}"/>
              </a:ext>
            </a:extLst>
          </p:cNvPr>
          <p:cNvSpPr>
            <a:spLocks noGrp="1"/>
          </p:cNvSpPr>
          <p:nvPr>
            <p:ph type="body" sz="quarter" idx="14" hasCustomPrompt="1"/>
          </p:nvPr>
        </p:nvSpPr>
        <p:spPr>
          <a:xfrm>
            <a:off x="1706114" y="6561541"/>
            <a:ext cx="8770647" cy="205212"/>
          </a:xfrm>
          <a:prstGeom prst="rect">
            <a:avLst/>
          </a:prstGeom>
        </p:spPr>
        <p:txBody>
          <a:bodyPr anchor="b" anchorCtr="0"/>
          <a:lstStyle>
            <a:lvl1pPr algn="l">
              <a:spcBef>
                <a:spcPts val="0"/>
              </a:spcBef>
              <a:spcAft>
                <a:spcPts val="0"/>
              </a:spcAft>
              <a:defRPr sz="900"/>
            </a:lvl1pPr>
          </a:lstStyle>
          <a:p>
            <a:pPr lvl="0"/>
            <a:r>
              <a:rPr lang="en-US"/>
              <a:t>Abbreviations</a:t>
            </a:r>
          </a:p>
        </p:txBody>
      </p:sp>
    </p:spTree>
    <p:extLst>
      <p:ext uri="{BB962C8B-B14F-4D97-AF65-F5344CB8AC3E}">
        <p14:creationId xmlns:p14="http://schemas.microsoft.com/office/powerpoint/2010/main" val="27123109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accent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474544E1-1D09-AB48-85D9-A481C4FDF1D0}"/>
              </a:ext>
            </a:extLst>
          </p:cNvPr>
          <p:cNvGrpSpPr/>
          <p:nvPr userDrawn="1"/>
        </p:nvGrpSpPr>
        <p:grpSpPr>
          <a:xfrm>
            <a:off x="0" y="0"/>
            <a:ext cx="10111753" cy="6858000"/>
            <a:chOff x="20548" y="0"/>
            <a:chExt cx="10113069" cy="6858000"/>
          </a:xfrm>
        </p:grpSpPr>
        <p:sp>
          <p:nvSpPr>
            <p:cNvPr id="35" name="Parallelogram 34">
              <a:extLst>
                <a:ext uri="{FF2B5EF4-FFF2-40B4-BE49-F238E27FC236}">
                  <a16:creationId xmlns:a16="http://schemas.microsoft.com/office/drawing/2014/main" id="{82BFB1BB-79D2-BE49-B32E-796759290FA6}"/>
                </a:ext>
              </a:extLst>
            </p:cNvPr>
            <p:cNvSpPr/>
            <p:nvPr userDrawn="1"/>
          </p:nvSpPr>
          <p:spPr>
            <a:xfrm>
              <a:off x="6679217" y="0"/>
              <a:ext cx="3454400" cy="6858000"/>
            </a:xfrm>
            <a:prstGeom prst="parallelogram">
              <a:avLst>
                <a:gd name="adj" fmla="val 895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Freeform 24">
              <a:extLst>
                <a:ext uri="{FF2B5EF4-FFF2-40B4-BE49-F238E27FC236}">
                  <a16:creationId xmlns:a16="http://schemas.microsoft.com/office/drawing/2014/main" id="{AF1FF3CA-EB91-6949-9C97-5A2D57B5FF3D}"/>
                </a:ext>
              </a:extLst>
            </p:cNvPr>
            <p:cNvSpPr/>
            <p:nvPr userDrawn="1"/>
          </p:nvSpPr>
          <p:spPr>
            <a:xfrm>
              <a:off x="20548" y="0"/>
              <a:ext cx="9774153" cy="6858000"/>
            </a:xfrm>
            <a:custGeom>
              <a:avLst/>
              <a:gdLst>
                <a:gd name="connsiteX0" fmla="*/ 0 w 9774153"/>
                <a:gd name="connsiteY0" fmla="*/ 0 h 6858000"/>
                <a:gd name="connsiteX1" fmla="*/ 175545 w 9774153"/>
                <a:gd name="connsiteY1" fmla="*/ 0 h 6858000"/>
                <a:gd name="connsiteX2" fmla="*/ 9598608 w 9774153"/>
                <a:gd name="connsiteY2" fmla="*/ 0 h 6858000"/>
                <a:gd name="connsiteX3" fmla="*/ 9774153 w 9774153"/>
                <a:gd name="connsiteY3" fmla="*/ 0 h 6858000"/>
                <a:gd name="connsiteX4" fmla="*/ 6679218 w 9774153"/>
                <a:gd name="connsiteY4" fmla="*/ 6858000 h 6858000"/>
                <a:gd name="connsiteX5" fmla="*/ 6503673 w 9774153"/>
                <a:gd name="connsiteY5" fmla="*/ 6858000 h 6858000"/>
                <a:gd name="connsiteX6" fmla="*/ 175545 w 9774153"/>
                <a:gd name="connsiteY6" fmla="*/ 6858000 h 6858000"/>
                <a:gd name="connsiteX7" fmla="*/ 0 w 9774153"/>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4153" h="6858000">
                  <a:moveTo>
                    <a:pt x="0" y="0"/>
                  </a:moveTo>
                  <a:lnTo>
                    <a:pt x="175545" y="0"/>
                  </a:lnTo>
                  <a:lnTo>
                    <a:pt x="9598608" y="0"/>
                  </a:lnTo>
                  <a:lnTo>
                    <a:pt x="9774153" y="0"/>
                  </a:lnTo>
                  <a:lnTo>
                    <a:pt x="6679218" y="6858000"/>
                  </a:lnTo>
                  <a:lnTo>
                    <a:pt x="6503673" y="6858000"/>
                  </a:lnTo>
                  <a:lnTo>
                    <a:pt x="175545" y="6858000"/>
                  </a:lnTo>
                  <a:lnTo>
                    <a:pt x="0" y="6858000"/>
                  </a:lnTo>
                  <a:close/>
                </a:path>
              </a:pathLst>
            </a:custGeom>
            <a:solidFill>
              <a:srgbClr val="1F428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2" name="Title 1">
            <a:extLst>
              <a:ext uri="{FF2B5EF4-FFF2-40B4-BE49-F238E27FC236}">
                <a16:creationId xmlns:a16="http://schemas.microsoft.com/office/drawing/2014/main" id="{6FC5B6C0-649B-F34D-9E2D-93A14AB7DD75}"/>
              </a:ext>
            </a:extLst>
          </p:cNvPr>
          <p:cNvSpPr>
            <a:spLocks noGrp="1"/>
          </p:cNvSpPr>
          <p:nvPr userDrawn="1">
            <p:ph type="ctrTitle" hasCustomPrompt="1"/>
          </p:nvPr>
        </p:nvSpPr>
        <p:spPr>
          <a:xfrm>
            <a:off x="495235" y="1122363"/>
            <a:ext cx="7216525" cy="2387600"/>
          </a:xfrm>
        </p:spPr>
        <p:txBody>
          <a:bodyPr anchor="b">
            <a:normAutofit/>
          </a:bodyPr>
          <a:lstStyle>
            <a:lvl1pPr algn="l">
              <a:defRPr sz="3600" baseline="0"/>
            </a:lvl1pPr>
          </a:lstStyle>
          <a:p>
            <a:r>
              <a:rPr lang="en-US" dirty="0"/>
              <a:t>Click to edit </a:t>
            </a:r>
            <a:br>
              <a:rPr lang="en-US" dirty="0"/>
            </a:br>
            <a:r>
              <a:rPr lang="en-US" dirty="0"/>
              <a:t>Master title style</a:t>
            </a:r>
          </a:p>
        </p:txBody>
      </p:sp>
      <p:sp>
        <p:nvSpPr>
          <p:cNvPr id="3" name="Subtitle 2">
            <a:extLst>
              <a:ext uri="{FF2B5EF4-FFF2-40B4-BE49-F238E27FC236}">
                <a16:creationId xmlns:a16="http://schemas.microsoft.com/office/drawing/2014/main" id="{906DEC47-4B15-AF45-87E9-F97131FB157A}"/>
              </a:ext>
            </a:extLst>
          </p:cNvPr>
          <p:cNvSpPr>
            <a:spLocks noGrp="1"/>
          </p:cNvSpPr>
          <p:nvPr userDrawn="1">
            <p:ph type="subTitle" idx="1"/>
          </p:nvPr>
        </p:nvSpPr>
        <p:spPr>
          <a:xfrm>
            <a:off x="495235" y="3602038"/>
            <a:ext cx="7216525" cy="1655762"/>
          </a:xfrm>
        </p:spPr>
        <p:txBody>
          <a:bodyPr lIns="27432">
            <a:normAutofit/>
          </a:bodyPr>
          <a:lstStyle>
            <a:lvl1pPr marL="0" indent="0" algn="l">
              <a:spcBef>
                <a:spcPts val="600"/>
              </a:spcBef>
              <a:buNone/>
              <a:tabLst>
                <a:tab pos="1139711" algn="l"/>
              </a:tabLst>
              <a:defRPr sz="2000" u="none" baseline="0">
                <a:solidFill>
                  <a:schemeClr val="tx2"/>
                </a:solidFill>
                <a:uFill>
                  <a:solidFill>
                    <a:schemeClr val="accent1"/>
                  </a:solidFill>
                </a:u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8F5BEB15-B2B8-354F-A837-87D401F033E7}"/>
              </a:ext>
            </a:extLst>
          </p:cNvPr>
          <p:cNvPicPr>
            <a:picLocks noChangeAspect="1"/>
          </p:cNvPicPr>
          <p:nvPr userDrawn="1"/>
        </p:nvPicPr>
        <p:blipFill>
          <a:blip r:embed="rId2"/>
          <a:srcRect/>
          <a:stretch/>
        </p:blipFill>
        <p:spPr>
          <a:xfrm>
            <a:off x="8848677" y="4348905"/>
            <a:ext cx="3164696" cy="2149233"/>
          </a:xfrm>
          <a:prstGeom prst="rect">
            <a:avLst/>
          </a:prstGeom>
        </p:spPr>
      </p:pic>
      <p:pic>
        <p:nvPicPr>
          <p:cNvPr id="18" name="Picture 17">
            <a:extLst>
              <a:ext uri="{FF2B5EF4-FFF2-40B4-BE49-F238E27FC236}">
                <a16:creationId xmlns:a16="http://schemas.microsoft.com/office/drawing/2014/main" id="{8C30099A-3FDF-224E-9AED-73506F5DD8C4}"/>
              </a:ext>
            </a:extLst>
          </p:cNvPr>
          <p:cNvPicPr>
            <a:picLocks noChangeAspect="1"/>
          </p:cNvPicPr>
          <p:nvPr userDrawn="1"/>
        </p:nvPicPr>
        <p:blipFill>
          <a:blip r:embed="rId3"/>
          <a:stretch>
            <a:fillRect/>
          </a:stretch>
        </p:blipFill>
        <p:spPr>
          <a:xfrm>
            <a:off x="13295285" y="336925"/>
            <a:ext cx="1014384" cy="401637"/>
          </a:xfrm>
          <a:prstGeom prst="rect">
            <a:avLst/>
          </a:prstGeom>
        </p:spPr>
      </p:pic>
      <p:sp>
        <p:nvSpPr>
          <p:cNvPr id="20" name="Date Placeholder 19">
            <a:extLst>
              <a:ext uri="{FF2B5EF4-FFF2-40B4-BE49-F238E27FC236}">
                <a16:creationId xmlns:a16="http://schemas.microsoft.com/office/drawing/2014/main" id="{BD3DC730-8A32-F84B-9876-9110A37E47CF}"/>
              </a:ext>
            </a:extLst>
          </p:cNvPr>
          <p:cNvSpPr>
            <a:spLocks noGrp="1"/>
          </p:cNvSpPr>
          <p:nvPr userDrawn="1">
            <p:ph type="dt" sz="half" idx="10"/>
          </p:nvPr>
        </p:nvSpPr>
        <p:spPr/>
        <p:txBody>
          <a:bodyPr/>
          <a:lstStyle/>
          <a:p>
            <a:fld id="{3CE44606-D3B9-6C43-82A9-F1CDB5D49BFD}" type="datetime1">
              <a:rPr lang="en-US" smtClean="0"/>
              <a:t>6/7/2024</a:t>
            </a:fld>
            <a:endParaRPr lang="en-US" dirty="0"/>
          </a:p>
        </p:txBody>
      </p:sp>
      <p:sp>
        <p:nvSpPr>
          <p:cNvPr id="21" name="Footer Placeholder 20">
            <a:extLst>
              <a:ext uri="{FF2B5EF4-FFF2-40B4-BE49-F238E27FC236}">
                <a16:creationId xmlns:a16="http://schemas.microsoft.com/office/drawing/2014/main" id="{A1FC7EC5-A43F-E445-8E38-FD6B75E4F649}"/>
              </a:ext>
            </a:extLst>
          </p:cNvPr>
          <p:cNvSpPr>
            <a:spLocks noGrp="1"/>
          </p:cNvSpPr>
          <p:nvPr userDrawn="1">
            <p:ph type="ftr" sz="quarter" idx="11"/>
          </p:nvPr>
        </p:nvSpPr>
        <p:spPr>
          <a:xfrm>
            <a:off x="4038075" y="6356351"/>
            <a:ext cx="3530783" cy="365125"/>
          </a:xfrm>
        </p:spPr>
        <p:txBody>
          <a:bodyPr/>
          <a:lstStyle/>
          <a:p>
            <a:r>
              <a:rPr lang="en-US" dirty="0"/>
              <a:t>FOR INTERNAL USE ONLY</a:t>
            </a:r>
          </a:p>
        </p:txBody>
      </p:sp>
      <p:sp>
        <p:nvSpPr>
          <p:cNvPr id="22" name="Slide Number Placeholder 21">
            <a:extLst>
              <a:ext uri="{FF2B5EF4-FFF2-40B4-BE49-F238E27FC236}">
                <a16:creationId xmlns:a16="http://schemas.microsoft.com/office/drawing/2014/main" id="{8C7C6FA7-3214-9D45-89CA-C2538FCFB86D}"/>
              </a:ext>
            </a:extLst>
          </p:cNvPr>
          <p:cNvSpPr>
            <a:spLocks noGrp="1"/>
          </p:cNvSpPr>
          <p:nvPr userDrawn="1">
            <p:ph type="sldNum" sz="quarter" idx="12"/>
          </p:nvPr>
        </p:nvSpPr>
        <p:spPr/>
        <p:txBody>
          <a:bodyPr/>
          <a:lstStyle/>
          <a:p>
            <a:fld id="{C0AFECD8-B8AF-5C4E-B306-A0438013ED66}" type="slidenum">
              <a:rPr lang="en-US" smtClean="0"/>
              <a:pPr/>
              <a:t>‹#›</a:t>
            </a:fld>
            <a:endParaRPr lang="en-US" dirty="0"/>
          </a:p>
        </p:txBody>
      </p:sp>
      <p:grpSp>
        <p:nvGrpSpPr>
          <p:cNvPr id="26" name="Group 25">
            <a:extLst>
              <a:ext uri="{FF2B5EF4-FFF2-40B4-BE49-F238E27FC236}">
                <a16:creationId xmlns:a16="http://schemas.microsoft.com/office/drawing/2014/main" id="{FF894715-2381-2544-8D3E-69C2484082E1}"/>
              </a:ext>
            </a:extLst>
          </p:cNvPr>
          <p:cNvGrpSpPr/>
          <p:nvPr userDrawn="1"/>
        </p:nvGrpSpPr>
        <p:grpSpPr>
          <a:xfrm>
            <a:off x="10045517" y="231452"/>
            <a:ext cx="1930338" cy="549371"/>
            <a:chOff x="8736118" y="1637730"/>
            <a:chExt cx="2478142" cy="705184"/>
          </a:xfrm>
        </p:grpSpPr>
        <p:pic>
          <p:nvPicPr>
            <p:cNvPr id="27" name="Picture 26">
              <a:extLst>
                <a:ext uri="{FF2B5EF4-FFF2-40B4-BE49-F238E27FC236}">
                  <a16:creationId xmlns:a16="http://schemas.microsoft.com/office/drawing/2014/main" id="{FC05D1E0-697E-A64A-BEEE-8165753E26B3}"/>
                </a:ext>
              </a:extLst>
            </p:cNvPr>
            <p:cNvPicPr>
              <a:picLocks noChangeAspect="1"/>
            </p:cNvPicPr>
            <p:nvPr userDrawn="1"/>
          </p:nvPicPr>
          <p:blipFill>
            <a:blip r:embed="rId4"/>
            <a:stretch>
              <a:fillRect/>
            </a:stretch>
          </p:blipFill>
          <p:spPr>
            <a:xfrm>
              <a:off x="10509076" y="1637730"/>
              <a:ext cx="705184" cy="705184"/>
            </a:xfrm>
            <a:prstGeom prst="rect">
              <a:avLst/>
            </a:prstGeom>
          </p:spPr>
        </p:pic>
        <p:pic>
          <p:nvPicPr>
            <p:cNvPr id="28" name="Picture 27">
              <a:extLst>
                <a:ext uri="{FF2B5EF4-FFF2-40B4-BE49-F238E27FC236}">
                  <a16:creationId xmlns:a16="http://schemas.microsoft.com/office/drawing/2014/main" id="{6A8BB81E-499F-2B44-B243-C09A0FEBB5A1}"/>
                </a:ext>
              </a:extLst>
            </p:cNvPr>
            <p:cNvPicPr>
              <a:picLocks noChangeAspect="1"/>
            </p:cNvPicPr>
            <p:nvPr userDrawn="1"/>
          </p:nvPicPr>
          <p:blipFill>
            <a:blip r:embed="rId3"/>
            <a:stretch>
              <a:fillRect/>
            </a:stretch>
          </p:blipFill>
          <p:spPr>
            <a:xfrm>
              <a:off x="8736118" y="1728542"/>
              <a:ext cx="1397890" cy="553411"/>
            </a:xfrm>
            <a:prstGeom prst="rect">
              <a:avLst/>
            </a:prstGeom>
          </p:spPr>
        </p:pic>
      </p:grpSp>
    </p:spTree>
    <p:extLst>
      <p:ext uri="{BB962C8B-B14F-4D97-AF65-F5344CB8AC3E}">
        <p14:creationId xmlns:p14="http://schemas.microsoft.com/office/powerpoint/2010/main" val="34890247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slide, Solid">
    <p:bg>
      <p:bgPr>
        <a:solidFill>
          <a:schemeClr val="accent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bwMode="gray"/>
        <p:txBody>
          <a:bodyPr/>
          <a:lstStyle>
            <a:lvl1pPr>
              <a:defRPr>
                <a:solidFill>
                  <a:schemeClr val="bg1"/>
                </a:solid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hasCustomPrompt="1"/>
          </p:nvPr>
        </p:nvSpPr>
        <p:spPr bwMode="black">
          <a:xfrm>
            <a:off x="506276" y="1949315"/>
            <a:ext cx="3830197" cy="1070976"/>
          </a:xfrm>
        </p:spPr>
        <p:txBody>
          <a:bodyPr anchor="t"/>
          <a:lstStyle>
            <a:lvl1pPr>
              <a:defRPr sz="2800" b="0" i="0">
                <a:solidFill>
                  <a:schemeClr val="bg1"/>
                </a:solidFill>
              </a:defRPr>
            </a:lvl1pPr>
          </a:lstStyle>
          <a:p>
            <a:r>
              <a:rPr lang="de-DE" err="1"/>
              <a:t>Section</a:t>
            </a:r>
            <a:r>
              <a:rPr lang="de-DE"/>
              <a:t> </a:t>
            </a:r>
            <a:r>
              <a:rPr lang="de-DE" err="1"/>
              <a:t>divider</a:t>
            </a:r>
            <a:r>
              <a:rPr lang="de-DE"/>
              <a:t> </a:t>
            </a:r>
            <a:r>
              <a:rPr lang="de-DE" err="1"/>
              <a:t>titles</a:t>
            </a:r>
            <a:r>
              <a:rPr lang="de-DE"/>
              <a:t> </a:t>
            </a:r>
            <a:r>
              <a:rPr lang="de-DE" err="1"/>
              <a:t>are</a:t>
            </a:r>
            <a:r>
              <a:rPr lang="de-DE"/>
              <a:t> </a:t>
            </a:r>
            <a:r>
              <a:rPr lang="de-DE" err="1"/>
              <a:t>set</a:t>
            </a:r>
            <a:r>
              <a:rPr lang="de-DE"/>
              <a:t> in Arial Regular </a:t>
            </a:r>
            <a:r>
              <a:rPr lang="de-DE" err="1"/>
              <a:t>sentence</a:t>
            </a:r>
            <a:r>
              <a:rPr lang="de-DE"/>
              <a:t> </a:t>
            </a:r>
            <a:r>
              <a:rPr lang="de-DE" err="1"/>
              <a:t>case</a:t>
            </a:r>
            <a:r>
              <a:rPr lang="de-DE"/>
              <a:t> 28pt</a:t>
            </a:r>
            <a:endParaRPr lang="en-US"/>
          </a:p>
        </p:txBody>
      </p:sp>
      <p:pic>
        <p:nvPicPr>
          <p:cNvPr id="9" name="Picture 2">
            <a:hlinkClick r:id="" action="ppaction://noaction"/>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gray">
          <a:xfrm>
            <a:off x="11151878" y="198885"/>
            <a:ext cx="824742" cy="824742"/>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userDrawn="1"/>
        </p:nvCxnSpPr>
        <p:spPr bwMode="gray">
          <a:xfrm flipH="1">
            <a:off x="4124056" y="0"/>
            <a:ext cx="1316736" cy="6858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gray">
          <a:xfrm flipV="1">
            <a:off x="6558866" y="2642616"/>
            <a:ext cx="5631548" cy="42153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10007639" y="3429000"/>
            <a:ext cx="2182775" cy="3429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gray">
          <a:xfrm flipH="1">
            <a:off x="10462565" y="3666245"/>
            <a:ext cx="1727848" cy="3191757"/>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641486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slide | Medical Affair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9306" y="181938"/>
            <a:ext cx="10684867" cy="864000"/>
          </a:xfrm>
        </p:spPr>
        <p:txBody>
          <a:bodyPr/>
          <a:lstStyle>
            <a:lvl1pPr>
              <a:defRPr sz="2000"/>
            </a:lvl1pPr>
          </a:lstStyle>
          <a:p>
            <a:r>
              <a:rPr lang="en-US"/>
              <a:t>Click to edit Master title style</a:t>
            </a:r>
          </a:p>
        </p:txBody>
      </p:sp>
      <p:sp>
        <p:nvSpPr>
          <p:cNvPr id="13" name="Text Placeholder 12"/>
          <p:cNvSpPr>
            <a:spLocks noGrp="1"/>
          </p:cNvSpPr>
          <p:nvPr>
            <p:ph type="body" sz="quarter" idx="13"/>
          </p:nvPr>
        </p:nvSpPr>
        <p:spPr>
          <a:xfrm>
            <a:off x="457766" y="1491454"/>
            <a:ext cx="10686773" cy="28119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12"/>
          </p:nvPr>
        </p:nvSpPr>
        <p:spPr bwMode="gray">
          <a:xfrm>
            <a:off x="195844" y="6617933"/>
            <a:ext cx="392326" cy="108000"/>
          </a:xfrm>
        </p:spPr>
        <p:txBody>
          <a:bodyPr/>
          <a:lstStyle>
            <a:lvl1pPr>
              <a:defRPr>
                <a:solidFill>
                  <a:schemeClr val="accent2"/>
                </a:solidFill>
              </a:defRPr>
            </a:lvl1pPr>
          </a:lstStyle>
          <a:p>
            <a:fld id="{EEAD9179-7A6B-4268-BEB2-F3B8EB06115B}" type="slidenum">
              <a:rPr lang="en-US" smtClean="0"/>
              <a:pPr/>
              <a:t>‹#›</a:t>
            </a:fld>
            <a:endParaRPr lang="en-US"/>
          </a:p>
        </p:txBody>
      </p:sp>
      <p:sp>
        <p:nvSpPr>
          <p:cNvPr id="4" name="Footer Placeholder 4">
            <a:extLst>
              <a:ext uri="{FF2B5EF4-FFF2-40B4-BE49-F238E27FC236}">
                <a16:creationId xmlns:a16="http://schemas.microsoft.com/office/drawing/2014/main" id="{8F141D7A-5AB5-29D8-3237-EBCAE61A24E6}"/>
              </a:ext>
            </a:extLst>
          </p:cNvPr>
          <p:cNvSpPr>
            <a:spLocks noGrp="1"/>
          </p:cNvSpPr>
          <p:nvPr>
            <p:ph type="ftr" sz="quarter" idx="3"/>
          </p:nvPr>
        </p:nvSpPr>
        <p:spPr>
          <a:xfrm>
            <a:off x="594283" y="6400800"/>
            <a:ext cx="8955978" cy="457200"/>
          </a:xfrm>
          <a:prstGeom prst="rect">
            <a:avLst/>
          </a:prstGeom>
        </p:spPr>
        <p:txBody>
          <a:bodyPr vert="horz" lIns="91440" tIns="45720" rIns="91440" bIns="45720" rtlCol="0" anchor="b" anchorCtr="0"/>
          <a:lstStyle>
            <a:lvl1pPr algn="l">
              <a:defRPr sz="900">
                <a:solidFill>
                  <a:schemeClr val="tx1"/>
                </a:solidFill>
              </a:defRPr>
            </a:lvl1pPr>
          </a:lstStyle>
          <a:p>
            <a:endParaRPr lang="en-US"/>
          </a:p>
        </p:txBody>
      </p:sp>
    </p:spTree>
    <p:extLst>
      <p:ext uri="{BB962C8B-B14F-4D97-AF65-F5344CB8AC3E}">
        <p14:creationId xmlns:p14="http://schemas.microsoft.com/office/powerpoint/2010/main" val="2083384318"/>
      </p:ext>
    </p:extLst>
  </p:cSld>
  <p:clrMapOvr>
    <a:masterClrMapping/>
  </p:clrMapOvr>
  <p:transition>
    <p:fade/>
  </p:transition>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Title Slide | Medical Affairs">
    <p:bg>
      <p:bgPr>
        <a:solidFill>
          <a:schemeClr val="bg1"/>
        </a:solidFill>
        <a:effectLst/>
      </p:bgPr>
    </p:bg>
    <p:spTree>
      <p:nvGrpSpPr>
        <p:cNvPr id="1" name=""/>
        <p:cNvGrpSpPr/>
        <p:nvPr/>
      </p:nvGrpSpPr>
      <p:grpSpPr>
        <a:xfrm>
          <a:off x="0" y="0"/>
          <a:ext cx="0" cy="0"/>
          <a:chOff x="0" y="0"/>
          <a:chExt cx="0" cy="0"/>
        </a:xfrm>
      </p:grpSpPr>
      <p:pic>
        <p:nvPicPr>
          <p:cNvPr id="9" name="Picture 2">
            <a:hlinkClick r:id="" action="ppaction://noaction"/>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gray">
          <a:xfrm>
            <a:off x="11151775" y="198885"/>
            <a:ext cx="824948" cy="824742"/>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5"/>
          <p:cNvSpPr>
            <a:spLocks noGrp="1"/>
          </p:cNvSpPr>
          <p:nvPr>
            <p:ph type="sldNum" sz="quarter" idx="12"/>
          </p:nvPr>
        </p:nvSpPr>
        <p:spPr bwMode="gray"/>
        <p:txBody>
          <a:bodyPr/>
          <a:lstStyle>
            <a:lvl1pPr>
              <a:defRPr>
                <a:solidFill>
                  <a:schemeClr val="accent2"/>
                </a:solid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solidFill>
                  <a:srgbClr val="00BCFF"/>
                </a:solidFill>
              </a:rPr>
              <a:pPr/>
              <a:t>‹#›</a:t>
            </a:fld>
            <a:endParaRPr lang="en-US">
              <a:solidFill>
                <a:srgbClr val="00BCFF"/>
              </a:solidFill>
            </a:endParaRPr>
          </a:p>
        </p:txBody>
      </p:sp>
      <p:sp>
        <p:nvSpPr>
          <p:cNvPr id="2" name="Title 1"/>
          <p:cNvSpPr>
            <a:spLocks noGrp="1"/>
          </p:cNvSpPr>
          <p:nvPr>
            <p:ph type="ctrTitle" hasCustomPrompt="1"/>
          </p:nvPr>
        </p:nvSpPr>
        <p:spPr bwMode="black">
          <a:xfrm>
            <a:off x="506277" y="2910449"/>
            <a:ext cx="7131653" cy="1070976"/>
          </a:xfrm>
        </p:spPr>
        <p:txBody>
          <a:bodyPr anchor="t"/>
          <a:lstStyle>
            <a:lvl1pPr>
              <a:defRPr sz="3600" b="0" i="0">
                <a:solidFill>
                  <a:schemeClr val="accent1"/>
                </a:solidFill>
              </a:defRPr>
            </a:lvl1pPr>
          </a:lstStyle>
          <a:p>
            <a:r>
              <a:rPr lang="de-DE"/>
              <a:t>Title </a:t>
            </a:r>
            <a:r>
              <a:rPr lang="de-DE" err="1"/>
              <a:t>is</a:t>
            </a:r>
            <a:r>
              <a:rPr lang="de-DE"/>
              <a:t> </a:t>
            </a:r>
            <a:r>
              <a:rPr lang="de-DE" err="1"/>
              <a:t>set</a:t>
            </a:r>
            <a:r>
              <a:rPr lang="de-DE"/>
              <a:t> in Arial Light</a:t>
            </a:r>
            <a:br>
              <a:rPr lang="de-DE"/>
            </a:br>
            <a:r>
              <a:rPr lang="de-DE" err="1"/>
              <a:t>sentence</a:t>
            </a:r>
            <a:r>
              <a:rPr lang="de-DE"/>
              <a:t> </a:t>
            </a:r>
            <a:r>
              <a:rPr lang="de-DE" err="1"/>
              <a:t>case</a:t>
            </a:r>
            <a:r>
              <a:rPr lang="de-DE"/>
              <a:t> 36pt</a:t>
            </a:r>
            <a:endParaRPr lang="en-US"/>
          </a:p>
        </p:txBody>
      </p:sp>
      <p:sp>
        <p:nvSpPr>
          <p:cNvPr id="21" name="Text Placeholder 20"/>
          <p:cNvSpPr>
            <a:spLocks noGrp="1"/>
          </p:cNvSpPr>
          <p:nvPr>
            <p:ph type="body" sz="quarter" idx="13" hasCustomPrompt="1"/>
          </p:nvPr>
        </p:nvSpPr>
        <p:spPr bwMode="black">
          <a:xfrm>
            <a:off x="541991" y="4206736"/>
            <a:ext cx="7095938" cy="295994"/>
          </a:xfrm>
        </p:spPr>
        <p:txBody>
          <a:bodyPr/>
          <a:lstStyle>
            <a:lvl1pPr>
              <a:spcBef>
                <a:spcPts val="0"/>
              </a:spcBef>
              <a:spcAft>
                <a:spcPts val="0"/>
              </a:spcAft>
              <a:defRPr b="0">
                <a:solidFill>
                  <a:schemeClr val="accent6"/>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err="1"/>
              <a:t>Subtitle</a:t>
            </a:r>
            <a:r>
              <a:rPr lang="de-DE"/>
              <a:t> </a:t>
            </a:r>
            <a:r>
              <a:rPr lang="de-DE" err="1"/>
              <a:t>is</a:t>
            </a:r>
            <a:r>
              <a:rPr lang="de-DE"/>
              <a:t> </a:t>
            </a:r>
            <a:r>
              <a:rPr lang="de-DE" err="1"/>
              <a:t>set</a:t>
            </a:r>
            <a:r>
              <a:rPr lang="de-DE"/>
              <a:t> in Arial Regular 18pt</a:t>
            </a:r>
          </a:p>
        </p:txBody>
      </p:sp>
      <p:pic>
        <p:nvPicPr>
          <p:cNvPr id="12" name="Picture 11">
            <a:extLst>
              <a:ext uri="{FF2B5EF4-FFF2-40B4-BE49-F238E27FC236}">
                <a16:creationId xmlns:a16="http://schemas.microsoft.com/office/drawing/2014/main" id="{06E3F7AC-2F31-438F-8BBB-20569931F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49"/>
            <a:ext cx="12191999" cy="6857107"/>
          </a:xfrm>
          <a:prstGeom prst="rect">
            <a:avLst/>
          </a:prstGeom>
        </p:spPr>
      </p:pic>
      <p:sp>
        <p:nvSpPr>
          <p:cNvPr id="3" name="Rectangle 2">
            <a:extLst>
              <a:ext uri="{FF2B5EF4-FFF2-40B4-BE49-F238E27FC236}">
                <a16:creationId xmlns:a16="http://schemas.microsoft.com/office/drawing/2014/main" id="{8CC11D9D-EB90-4043-9898-75DD695A5FF1}"/>
              </a:ext>
            </a:extLst>
          </p:cNvPr>
          <p:cNvSpPr/>
          <p:nvPr userDrawn="1"/>
        </p:nvSpPr>
        <p:spPr bwMode="gray">
          <a:xfrm>
            <a:off x="349624" y="1425388"/>
            <a:ext cx="3756211" cy="11654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91491989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ext slide | Medical Affairs">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bwMode="gray">
          <a:xfrm>
            <a:off x="195844" y="6617933"/>
            <a:ext cx="392326" cy="108000"/>
          </a:xfrm>
        </p:spPr>
        <p:txBody>
          <a:bodyPr/>
          <a:lstStyle>
            <a:lvl1pPr>
              <a:defRPr>
                <a:solidFill>
                  <a:schemeClr val="accent2"/>
                </a:solidFill>
              </a:defRPr>
            </a:lvl1pPr>
          </a:lstStyle>
          <a:p>
            <a:fld id="{EEAD9179-7A6B-4268-BEB2-F3B8EB06115B}" type="slidenum">
              <a:rPr lang="en-US" smtClean="0"/>
              <a:pPr/>
              <a:t>‹#›</a:t>
            </a:fld>
            <a:endParaRPr lang="en-US"/>
          </a:p>
        </p:txBody>
      </p:sp>
      <p:pic>
        <p:nvPicPr>
          <p:cNvPr id="291" name="Picture 290">
            <a:extLst>
              <a:ext uri="{FF2B5EF4-FFF2-40B4-BE49-F238E27FC236}">
                <a16:creationId xmlns:a16="http://schemas.microsoft.com/office/drawing/2014/main" id="{5C9C3E83-B16B-40D7-89DC-9426FC551781}"/>
              </a:ext>
            </a:extLst>
          </p:cNvPr>
          <p:cNvPicPr>
            <a:picLocks noChangeAspect="1"/>
          </p:cNvPicPr>
          <p:nvPr userDrawn="1"/>
        </p:nvPicPr>
        <p:blipFill>
          <a:blip r:embed="rId2"/>
          <a:stretch>
            <a:fillRect/>
          </a:stretch>
        </p:blipFill>
        <p:spPr>
          <a:xfrm>
            <a:off x="1678602" y="-61548"/>
            <a:ext cx="8778704" cy="1143758"/>
          </a:xfrm>
          <a:prstGeom prst="rect">
            <a:avLst/>
          </a:prstGeom>
        </p:spPr>
      </p:pic>
      <p:sp>
        <p:nvSpPr>
          <p:cNvPr id="292" name="Rectangle 291">
            <a:extLst>
              <a:ext uri="{FF2B5EF4-FFF2-40B4-BE49-F238E27FC236}">
                <a16:creationId xmlns:a16="http://schemas.microsoft.com/office/drawing/2014/main" id="{B16EF64E-E09A-4562-9910-FEF357937A08}"/>
              </a:ext>
            </a:extLst>
          </p:cNvPr>
          <p:cNvSpPr/>
          <p:nvPr userDrawn="1"/>
        </p:nvSpPr>
        <p:spPr bwMode="gray">
          <a:xfrm>
            <a:off x="7166719" y="510333"/>
            <a:ext cx="1289180" cy="571879"/>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94" name="Group 293">
            <a:extLst>
              <a:ext uri="{FF2B5EF4-FFF2-40B4-BE49-F238E27FC236}">
                <a16:creationId xmlns:a16="http://schemas.microsoft.com/office/drawing/2014/main" id="{D39EE625-131A-4F1A-8726-C4D8BC255567}"/>
              </a:ext>
            </a:extLst>
          </p:cNvPr>
          <p:cNvGrpSpPr/>
          <p:nvPr userDrawn="1"/>
        </p:nvGrpSpPr>
        <p:grpSpPr>
          <a:xfrm>
            <a:off x="289422" y="132067"/>
            <a:ext cx="1342671" cy="902434"/>
            <a:chOff x="4686610" y="599435"/>
            <a:chExt cx="1342671" cy="902434"/>
          </a:xfrm>
        </p:grpSpPr>
        <p:sp>
          <p:nvSpPr>
            <p:cNvPr id="295" name="Rectangle 294">
              <a:extLst>
                <a:ext uri="{FF2B5EF4-FFF2-40B4-BE49-F238E27FC236}">
                  <a16:creationId xmlns:a16="http://schemas.microsoft.com/office/drawing/2014/main" id="{5251B9F1-5D4A-41AA-BD44-473100AB7DF4}"/>
                </a:ext>
              </a:extLst>
            </p:cNvPr>
            <p:cNvSpPr/>
            <p:nvPr/>
          </p:nvSpPr>
          <p:spPr bwMode="gray">
            <a:xfrm>
              <a:off x="4686610" y="599435"/>
              <a:ext cx="504827" cy="9024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96" name="Text Placeholder 2">
              <a:extLst>
                <a:ext uri="{FF2B5EF4-FFF2-40B4-BE49-F238E27FC236}">
                  <a16:creationId xmlns:a16="http://schemas.microsoft.com/office/drawing/2014/main" id="{11976313-84AD-4C65-917D-2832EA9CD063}"/>
                </a:ext>
              </a:extLst>
            </p:cNvPr>
            <p:cNvSpPr txBox="1">
              <a:spLocks/>
            </p:cNvSpPr>
            <p:nvPr/>
          </p:nvSpPr>
          <p:spPr bwMode="gray">
            <a:xfrm>
              <a:off x="5191437" y="599437"/>
              <a:ext cx="837844" cy="902432"/>
            </a:xfrm>
            <a:prstGeom prst="rect">
              <a:avLst/>
            </a:prstGeom>
            <a:solidFill>
              <a:schemeClr val="accent1"/>
            </a:solidFill>
          </p:spPr>
          <p:txBody>
            <a:bodyPr vert="horz" lIns="0" tIns="0" rIns="0" bIns="0" rtlCol="0" anchor="ctr">
              <a:noAutofit/>
            </a:bodyPr>
            <a:lstStyle>
              <a:lvl1pPr marL="0" indent="0" algn="l" defTabSz="914400" rtl="0" eaLnBrk="1" latinLnBrk="0" hangingPunct="1">
                <a:spcBef>
                  <a:spcPts val="600"/>
                </a:spcBef>
                <a:spcAft>
                  <a:spcPts val="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600"/>
                </a:spcBef>
                <a:spcAft>
                  <a:spcPts val="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600"/>
                </a:spcBef>
                <a:spcAft>
                  <a:spcPts val="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600"/>
                </a:spcBef>
                <a:spcAft>
                  <a:spcPts val="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600"/>
                </a:spcBef>
                <a:spcAft>
                  <a:spcPts val="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0" marR="0" lvl="0" indent="0" defTabSz="91430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accent2"/>
                  </a:solidFill>
                  <a:effectLst/>
                  <a:uLnTx/>
                  <a:uFillTx/>
                  <a:latin typeface="Arial"/>
                  <a:cs typeface="Arial"/>
                </a:rPr>
                <a:t>Click the hyperlinks to access the </a:t>
              </a:r>
              <a:r>
                <a:rPr lang="en-US" sz="1200" b="1">
                  <a:solidFill>
                    <a:schemeClr val="accent2"/>
                  </a:solidFill>
                  <a:latin typeface="Arial"/>
                  <a:cs typeface="Arial"/>
                </a:rPr>
                <a:t>slides</a:t>
              </a:r>
              <a:endParaRPr kumimoji="0" lang="en-US" sz="1200" b="0" i="0" u="none" strike="sngStrike" kern="0" cap="none" spc="0" normalizeH="0" baseline="0" noProof="0">
                <a:ln>
                  <a:noFill/>
                </a:ln>
                <a:solidFill>
                  <a:schemeClr val="accent2"/>
                </a:solidFill>
                <a:effectLst/>
                <a:uLnTx/>
                <a:uFillTx/>
                <a:latin typeface="Arial"/>
                <a:cs typeface="Arial"/>
              </a:endParaRPr>
            </a:p>
          </p:txBody>
        </p:sp>
        <p:pic>
          <p:nvPicPr>
            <p:cNvPr id="297" name="Graphic 296" descr="Zoom in">
              <a:extLst>
                <a:ext uri="{FF2B5EF4-FFF2-40B4-BE49-F238E27FC236}">
                  <a16:creationId xmlns:a16="http://schemas.microsoft.com/office/drawing/2014/main" id="{E1CDB36E-9B90-4318-A978-E8EC8351E2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34237" y="816068"/>
              <a:ext cx="457200" cy="457200"/>
            </a:xfrm>
            <a:prstGeom prst="rect">
              <a:avLst/>
            </a:prstGeom>
          </p:spPr>
        </p:pic>
      </p:grpSp>
      <p:sp>
        <p:nvSpPr>
          <p:cNvPr id="11" name="Rectangle 10">
            <a:extLst>
              <a:ext uri="{FF2B5EF4-FFF2-40B4-BE49-F238E27FC236}">
                <a16:creationId xmlns:a16="http://schemas.microsoft.com/office/drawing/2014/main" id="{A9BF2A06-B4B3-40E3-8877-14819F0B60CE}"/>
              </a:ext>
            </a:extLst>
          </p:cNvPr>
          <p:cNvSpPr/>
          <p:nvPr userDrawn="1"/>
        </p:nvSpPr>
        <p:spPr bwMode="gray">
          <a:xfrm>
            <a:off x="8408460" y="36195"/>
            <a:ext cx="2095355" cy="1082210"/>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Footer Placeholder 4">
            <a:extLst>
              <a:ext uri="{FF2B5EF4-FFF2-40B4-BE49-F238E27FC236}">
                <a16:creationId xmlns:a16="http://schemas.microsoft.com/office/drawing/2014/main" id="{A9B42162-EF96-B803-2F36-84B80791639F}"/>
              </a:ext>
            </a:extLst>
          </p:cNvPr>
          <p:cNvSpPr>
            <a:spLocks noGrp="1"/>
          </p:cNvSpPr>
          <p:nvPr>
            <p:ph type="ftr" sz="quarter" idx="3"/>
          </p:nvPr>
        </p:nvSpPr>
        <p:spPr>
          <a:xfrm>
            <a:off x="594283" y="6400800"/>
            <a:ext cx="7366262" cy="457200"/>
          </a:xfrm>
          <a:prstGeom prst="rect">
            <a:avLst/>
          </a:prstGeom>
        </p:spPr>
        <p:txBody>
          <a:bodyPr vert="horz" lIns="91440" tIns="45720" rIns="91440" bIns="45720" rtlCol="0" anchor="b" anchorCtr="0"/>
          <a:lstStyle>
            <a:lvl1pPr algn="l">
              <a:defRPr sz="900">
                <a:solidFill>
                  <a:schemeClr val="tx1"/>
                </a:solidFill>
              </a:defRPr>
            </a:lvl1pPr>
          </a:lstStyle>
          <a:p>
            <a:endParaRPr lang="en-US"/>
          </a:p>
        </p:txBody>
      </p:sp>
    </p:spTree>
    <p:extLst>
      <p:ext uri="{BB962C8B-B14F-4D97-AF65-F5344CB8AC3E}">
        <p14:creationId xmlns:p14="http://schemas.microsoft.com/office/powerpoint/2010/main" val="416183356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Text slide | Medical Affairs">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bwMode="gray">
          <a:xfrm>
            <a:off x="195844" y="6617933"/>
            <a:ext cx="392326" cy="108000"/>
          </a:xfrm>
        </p:spPr>
        <p:txBody>
          <a:bodyPr/>
          <a:lstStyle>
            <a:lvl1pPr>
              <a:defRPr>
                <a:solidFill>
                  <a:schemeClr val="accent2"/>
                </a:solidFill>
              </a:defRPr>
            </a:lvl1pPr>
          </a:lstStyle>
          <a:p>
            <a:fld id="{EEAD9179-7A6B-4268-BEB2-F3B8EB06115B}" type="slidenum">
              <a:rPr lang="en-US" smtClean="0"/>
              <a:pPr/>
              <a:t>‹#›</a:t>
            </a:fld>
            <a:endParaRPr lang="en-US"/>
          </a:p>
        </p:txBody>
      </p:sp>
      <p:pic>
        <p:nvPicPr>
          <p:cNvPr id="291" name="Picture 290">
            <a:extLst>
              <a:ext uri="{FF2B5EF4-FFF2-40B4-BE49-F238E27FC236}">
                <a16:creationId xmlns:a16="http://schemas.microsoft.com/office/drawing/2014/main" id="{5C9C3E83-B16B-40D7-89DC-9426FC551781}"/>
              </a:ext>
            </a:extLst>
          </p:cNvPr>
          <p:cNvPicPr>
            <a:picLocks noChangeAspect="1"/>
          </p:cNvPicPr>
          <p:nvPr userDrawn="1"/>
        </p:nvPicPr>
        <p:blipFill>
          <a:blip r:embed="rId2"/>
          <a:stretch>
            <a:fillRect/>
          </a:stretch>
        </p:blipFill>
        <p:spPr>
          <a:xfrm>
            <a:off x="1678602" y="-61548"/>
            <a:ext cx="8778704" cy="1143758"/>
          </a:xfrm>
          <a:prstGeom prst="rect">
            <a:avLst/>
          </a:prstGeom>
        </p:spPr>
      </p:pic>
      <p:sp>
        <p:nvSpPr>
          <p:cNvPr id="292" name="Rectangle 291">
            <a:extLst>
              <a:ext uri="{FF2B5EF4-FFF2-40B4-BE49-F238E27FC236}">
                <a16:creationId xmlns:a16="http://schemas.microsoft.com/office/drawing/2014/main" id="{B16EF64E-E09A-4562-9910-FEF357937A08}"/>
              </a:ext>
            </a:extLst>
          </p:cNvPr>
          <p:cNvSpPr/>
          <p:nvPr userDrawn="1"/>
        </p:nvSpPr>
        <p:spPr bwMode="gray">
          <a:xfrm>
            <a:off x="7166719" y="510333"/>
            <a:ext cx="1289180" cy="571879"/>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94" name="Group 293">
            <a:extLst>
              <a:ext uri="{FF2B5EF4-FFF2-40B4-BE49-F238E27FC236}">
                <a16:creationId xmlns:a16="http://schemas.microsoft.com/office/drawing/2014/main" id="{D39EE625-131A-4F1A-8726-C4D8BC255567}"/>
              </a:ext>
            </a:extLst>
          </p:cNvPr>
          <p:cNvGrpSpPr/>
          <p:nvPr userDrawn="1"/>
        </p:nvGrpSpPr>
        <p:grpSpPr>
          <a:xfrm>
            <a:off x="289422" y="132067"/>
            <a:ext cx="1342671" cy="902434"/>
            <a:chOff x="4686610" y="599435"/>
            <a:chExt cx="1342671" cy="902434"/>
          </a:xfrm>
        </p:grpSpPr>
        <p:sp>
          <p:nvSpPr>
            <p:cNvPr id="295" name="Rectangle 294">
              <a:extLst>
                <a:ext uri="{FF2B5EF4-FFF2-40B4-BE49-F238E27FC236}">
                  <a16:creationId xmlns:a16="http://schemas.microsoft.com/office/drawing/2014/main" id="{5251B9F1-5D4A-41AA-BD44-473100AB7DF4}"/>
                </a:ext>
              </a:extLst>
            </p:cNvPr>
            <p:cNvSpPr/>
            <p:nvPr/>
          </p:nvSpPr>
          <p:spPr bwMode="gray">
            <a:xfrm>
              <a:off x="4686610" y="599435"/>
              <a:ext cx="504827" cy="9024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96" name="Text Placeholder 2">
              <a:extLst>
                <a:ext uri="{FF2B5EF4-FFF2-40B4-BE49-F238E27FC236}">
                  <a16:creationId xmlns:a16="http://schemas.microsoft.com/office/drawing/2014/main" id="{11976313-84AD-4C65-917D-2832EA9CD063}"/>
                </a:ext>
              </a:extLst>
            </p:cNvPr>
            <p:cNvSpPr txBox="1">
              <a:spLocks/>
            </p:cNvSpPr>
            <p:nvPr/>
          </p:nvSpPr>
          <p:spPr bwMode="gray">
            <a:xfrm>
              <a:off x="5191437" y="599437"/>
              <a:ext cx="837844" cy="902432"/>
            </a:xfrm>
            <a:prstGeom prst="rect">
              <a:avLst/>
            </a:prstGeom>
            <a:solidFill>
              <a:schemeClr val="accent1"/>
            </a:solidFill>
          </p:spPr>
          <p:txBody>
            <a:bodyPr vert="horz" lIns="0" tIns="0" rIns="0" bIns="0" rtlCol="0" anchor="ctr">
              <a:noAutofit/>
            </a:bodyPr>
            <a:lstStyle>
              <a:lvl1pPr marL="0" indent="0" algn="l" defTabSz="914400" rtl="0" eaLnBrk="1" latinLnBrk="0" hangingPunct="1">
                <a:spcBef>
                  <a:spcPts val="600"/>
                </a:spcBef>
                <a:spcAft>
                  <a:spcPts val="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600"/>
                </a:spcBef>
                <a:spcAft>
                  <a:spcPts val="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600"/>
                </a:spcBef>
                <a:spcAft>
                  <a:spcPts val="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600"/>
                </a:spcBef>
                <a:spcAft>
                  <a:spcPts val="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600"/>
                </a:spcBef>
                <a:spcAft>
                  <a:spcPts val="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0" marR="0" lvl="0" indent="0" defTabSz="91430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accent2"/>
                  </a:solidFill>
                  <a:effectLst/>
                  <a:uLnTx/>
                  <a:uFillTx/>
                  <a:latin typeface="Arial"/>
                  <a:cs typeface="Arial"/>
                </a:rPr>
                <a:t>Click the hyperlinks to access the </a:t>
              </a:r>
              <a:r>
                <a:rPr lang="en-US" sz="1200" b="1">
                  <a:solidFill>
                    <a:schemeClr val="accent2"/>
                  </a:solidFill>
                  <a:latin typeface="Arial"/>
                  <a:cs typeface="Arial"/>
                </a:rPr>
                <a:t>slides</a:t>
              </a:r>
              <a:endParaRPr kumimoji="0" lang="en-US" sz="1200" b="0" i="0" u="none" strike="sngStrike" kern="0" cap="none" spc="0" normalizeH="0" baseline="0" noProof="0">
                <a:ln>
                  <a:noFill/>
                </a:ln>
                <a:solidFill>
                  <a:schemeClr val="accent2"/>
                </a:solidFill>
                <a:effectLst/>
                <a:uLnTx/>
                <a:uFillTx/>
                <a:latin typeface="Arial"/>
                <a:cs typeface="Arial"/>
              </a:endParaRPr>
            </a:p>
          </p:txBody>
        </p:sp>
        <p:pic>
          <p:nvPicPr>
            <p:cNvPr id="297" name="Graphic 296" descr="Zoom in">
              <a:extLst>
                <a:ext uri="{FF2B5EF4-FFF2-40B4-BE49-F238E27FC236}">
                  <a16:creationId xmlns:a16="http://schemas.microsoft.com/office/drawing/2014/main" id="{E1CDB36E-9B90-4318-A978-E8EC8351E2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34237" y="816068"/>
              <a:ext cx="457200" cy="457200"/>
            </a:xfrm>
            <a:prstGeom prst="rect">
              <a:avLst/>
            </a:prstGeom>
          </p:spPr>
        </p:pic>
      </p:grpSp>
      <p:sp>
        <p:nvSpPr>
          <p:cNvPr id="11" name="Rectangle 10">
            <a:extLst>
              <a:ext uri="{FF2B5EF4-FFF2-40B4-BE49-F238E27FC236}">
                <a16:creationId xmlns:a16="http://schemas.microsoft.com/office/drawing/2014/main" id="{A9BF2A06-B4B3-40E3-8877-14819F0B60CE}"/>
              </a:ext>
            </a:extLst>
          </p:cNvPr>
          <p:cNvSpPr/>
          <p:nvPr userDrawn="1"/>
        </p:nvSpPr>
        <p:spPr bwMode="gray">
          <a:xfrm>
            <a:off x="8455900" y="36195"/>
            <a:ext cx="2001406" cy="1082210"/>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5A01A429-E2FC-4FFB-9341-77C25783E9B6}"/>
              </a:ext>
            </a:extLst>
          </p:cNvPr>
          <p:cNvSpPr/>
          <p:nvPr userDrawn="1"/>
        </p:nvSpPr>
        <p:spPr bwMode="gray">
          <a:xfrm>
            <a:off x="1678602" y="1"/>
            <a:ext cx="3131311" cy="1082210"/>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Footer Placeholder 4">
            <a:extLst>
              <a:ext uri="{FF2B5EF4-FFF2-40B4-BE49-F238E27FC236}">
                <a16:creationId xmlns:a16="http://schemas.microsoft.com/office/drawing/2014/main" id="{EA1A5FA8-CD3E-77A0-1D21-80EA90808F93}"/>
              </a:ext>
            </a:extLst>
          </p:cNvPr>
          <p:cNvSpPr>
            <a:spLocks noGrp="1"/>
          </p:cNvSpPr>
          <p:nvPr>
            <p:ph type="ftr" sz="quarter" idx="3"/>
          </p:nvPr>
        </p:nvSpPr>
        <p:spPr>
          <a:xfrm>
            <a:off x="594283" y="6400800"/>
            <a:ext cx="7366262" cy="457200"/>
          </a:xfrm>
          <a:prstGeom prst="rect">
            <a:avLst/>
          </a:prstGeom>
        </p:spPr>
        <p:txBody>
          <a:bodyPr vert="horz" lIns="91440" tIns="45720" rIns="91440" bIns="45720" rtlCol="0" anchor="b" anchorCtr="0"/>
          <a:lstStyle>
            <a:lvl1pPr algn="l">
              <a:defRPr sz="900">
                <a:solidFill>
                  <a:schemeClr val="tx1"/>
                </a:solidFill>
              </a:defRPr>
            </a:lvl1pPr>
          </a:lstStyle>
          <a:p>
            <a:endParaRPr lang="en-US"/>
          </a:p>
        </p:txBody>
      </p:sp>
    </p:spTree>
    <p:extLst>
      <p:ext uri="{BB962C8B-B14F-4D97-AF65-F5344CB8AC3E}">
        <p14:creationId xmlns:p14="http://schemas.microsoft.com/office/powerpoint/2010/main" val="20784744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ext slide | Medical Affairs">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bwMode="gray">
          <a:xfrm>
            <a:off x="195844" y="6617933"/>
            <a:ext cx="392326" cy="108000"/>
          </a:xfrm>
        </p:spPr>
        <p:txBody>
          <a:bodyPr/>
          <a:lstStyle>
            <a:lvl1pPr>
              <a:defRPr>
                <a:solidFill>
                  <a:schemeClr val="accent2"/>
                </a:solidFill>
              </a:defRPr>
            </a:lvl1pPr>
          </a:lstStyle>
          <a:p>
            <a:fld id="{EEAD9179-7A6B-4268-BEB2-F3B8EB06115B}" type="slidenum">
              <a:rPr lang="en-US" smtClean="0"/>
              <a:pPr/>
              <a:t>‹#›</a:t>
            </a:fld>
            <a:endParaRPr lang="en-US"/>
          </a:p>
        </p:txBody>
      </p:sp>
      <p:pic>
        <p:nvPicPr>
          <p:cNvPr id="291" name="Picture 290">
            <a:extLst>
              <a:ext uri="{FF2B5EF4-FFF2-40B4-BE49-F238E27FC236}">
                <a16:creationId xmlns:a16="http://schemas.microsoft.com/office/drawing/2014/main" id="{5C9C3E83-B16B-40D7-89DC-9426FC551781}"/>
              </a:ext>
            </a:extLst>
          </p:cNvPr>
          <p:cNvPicPr>
            <a:picLocks noChangeAspect="1"/>
          </p:cNvPicPr>
          <p:nvPr userDrawn="1"/>
        </p:nvPicPr>
        <p:blipFill>
          <a:blip r:embed="rId2"/>
          <a:stretch>
            <a:fillRect/>
          </a:stretch>
        </p:blipFill>
        <p:spPr>
          <a:xfrm>
            <a:off x="1678602" y="-61548"/>
            <a:ext cx="8778704" cy="1143758"/>
          </a:xfrm>
          <a:prstGeom prst="rect">
            <a:avLst/>
          </a:prstGeom>
        </p:spPr>
      </p:pic>
      <p:sp>
        <p:nvSpPr>
          <p:cNvPr id="292" name="Rectangle 291">
            <a:extLst>
              <a:ext uri="{FF2B5EF4-FFF2-40B4-BE49-F238E27FC236}">
                <a16:creationId xmlns:a16="http://schemas.microsoft.com/office/drawing/2014/main" id="{B16EF64E-E09A-4562-9910-FEF357937A08}"/>
              </a:ext>
            </a:extLst>
          </p:cNvPr>
          <p:cNvSpPr/>
          <p:nvPr userDrawn="1"/>
        </p:nvSpPr>
        <p:spPr bwMode="gray">
          <a:xfrm>
            <a:off x="7166719" y="510333"/>
            <a:ext cx="1289180" cy="571879"/>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94" name="Group 293">
            <a:extLst>
              <a:ext uri="{FF2B5EF4-FFF2-40B4-BE49-F238E27FC236}">
                <a16:creationId xmlns:a16="http://schemas.microsoft.com/office/drawing/2014/main" id="{D39EE625-131A-4F1A-8726-C4D8BC255567}"/>
              </a:ext>
            </a:extLst>
          </p:cNvPr>
          <p:cNvGrpSpPr/>
          <p:nvPr userDrawn="1"/>
        </p:nvGrpSpPr>
        <p:grpSpPr>
          <a:xfrm>
            <a:off x="289422" y="132067"/>
            <a:ext cx="1342671" cy="902434"/>
            <a:chOff x="4686610" y="599435"/>
            <a:chExt cx="1342671" cy="902434"/>
          </a:xfrm>
        </p:grpSpPr>
        <p:sp>
          <p:nvSpPr>
            <p:cNvPr id="295" name="Rectangle 294">
              <a:extLst>
                <a:ext uri="{FF2B5EF4-FFF2-40B4-BE49-F238E27FC236}">
                  <a16:creationId xmlns:a16="http://schemas.microsoft.com/office/drawing/2014/main" id="{5251B9F1-5D4A-41AA-BD44-473100AB7DF4}"/>
                </a:ext>
              </a:extLst>
            </p:cNvPr>
            <p:cNvSpPr/>
            <p:nvPr/>
          </p:nvSpPr>
          <p:spPr bwMode="gray">
            <a:xfrm>
              <a:off x="4686610" y="599435"/>
              <a:ext cx="504827" cy="9024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96" name="Text Placeholder 2">
              <a:extLst>
                <a:ext uri="{FF2B5EF4-FFF2-40B4-BE49-F238E27FC236}">
                  <a16:creationId xmlns:a16="http://schemas.microsoft.com/office/drawing/2014/main" id="{11976313-84AD-4C65-917D-2832EA9CD063}"/>
                </a:ext>
              </a:extLst>
            </p:cNvPr>
            <p:cNvSpPr txBox="1">
              <a:spLocks/>
            </p:cNvSpPr>
            <p:nvPr/>
          </p:nvSpPr>
          <p:spPr bwMode="gray">
            <a:xfrm>
              <a:off x="5191437" y="599437"/>
              <a:ext cx="837844" cy="902432"/>
            </a:xfrm>
            <a:prstGeom prst="rect">
              <a:avLst/>
            </a:prstGeom>
            <a:solidFill>
              <a:schemeClr val="accent1"/>
            </a:solidFill>
          </p:spPr>
          <p:txBody>
            <a:bodyPr vert="horz" lIns="0" tIns="0" rIns="0" bIns="0" rtlCol="0" anchor="ctr">
              <a:noAutofit/>
            </a:bodyPr>
            <a:lstStyle>
              <a:lvl1pPr marL="0" indent="0" algn="l" defTabSz="914400" rtl="0" eaLnBrk="1" latinLnBrk="0" hangingPunct="1">
                <a:spcBef>
                  <a:spcPts val="600"/>
                </a:spcBef>
                <a:spcAft>
                  <a:spcPts val="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600"/>
                </a:spcBef>
                <a:spcAft>
                  <a:spcPts val="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600"/>
                </a:spcBef>
                <a:spcAft>
                  <a:spcPts val="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600"/>
                </a:spcBef>
                <a:spcAft>
                  <a:spcPts val="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600"/>
                </a:spcBef>
                <a:spcAft>
                  <a:spcPts val="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0" marR="0" lvl="0" indent="0" defTabSz="91430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accent2"/>
                  </a:solidFill>
                  <a:effectLst/>
                  <a:uLnTx/>
                  <a:uFillTx/>
                  <a:latin typeface="Arial"/>
                  <a:cs typeface="Arial"/>
                </a:rPr>
                <a:t>Click the hyperlinks to access the </a:t>
              </a:r>
              <a:r>
                <a:rPr lang="en-US" sz="1200" b="1">
                  <a:solidFill>
                    <a:schemeClr val="accent2"/>
                  </a:solidFill>
                  <a:latin typeface="Arial"/>
                  <a:cs typeface="Arial"/>
                </a:rPr>
                <a:t>slides</a:t>
              </a:r>
              <a:endParaRPr kumimoji="0" lang="en-US" sz="1200" b="0" i="0" u="none" strike="sngStrike" kern="0" cap="none" spc="0" normalizeH="0" baseline="0" noProof="0">
                <a:ln>
                  <a:noFill/>
                </a:ln>
                <a:solidFill>
                  <a:schemeClr val="accent2"/>
                </a:solidFill>
                <a:effectLst/>
                <a:uLnTx/>
                <a:uFillTx/>
                <a:latin typeface="Arial"/>
                <a:cs typeface="Arial"/>
              </a:endParaRPr>
            </a:p>
          </p:txBody>
        </p:sp>
        <p:pic>
          <p:nvPicPr>
            <p:cNvPr id="297" name="Graphic 296" descr="Zoom in">
              <a:extLst>
                <a:ext uri="{FF2B5EF4-FFF2-40B4-BE49-F238E27FC236}">
                  <a16:creationId xmlns:a16="http://schemas.microsoft.com/office/drawing/2014/main" id="{E1CDB36E-9B90-4318-A978-E8EC8351E2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34237" y="816068"/>
              <a:ext cx="457200" cy="457200"/>
            </a:xfrm>
            <a:prstGeom prst="rect">
              <a:avLst/>
            </a:prstGeom>
          </p:spPr>
        </p:pic>
      </p:grpSp>
      <p:sp>
        <p:nvSpPr>
          <p:cNvPr id="11" name="Rectangle 10">
            <a:extLst>
              <a:ext uri="{FF2B5EF4-FFF2-40B4-BE49-F238E27FC236}">
                <a16:creationId xmlns:a16="http://schemas.microsoft.com/office/drawing/2014/main" id="{A9BF2A06-B4B3-40E3-8877-14819F0B60CE}"/>
              </a:ext>
            </a:extLst>
          </p:cNvPr>
          <p:cNvSpPr/>
          <p:nvPr userDrawn="1"/>
        </p:nvSpPr>
        <p:spPr bwMode="gray">
          <a:xfrm>
            <a:off x="1678602" y="1"/>
            <a:ext cx="4954247" cy="1082210"/>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Footer Placeholder 4">
            <a:extLst>
              <a:ext uri="{FF2B5EF4-FFF2-40B4-BE49-F238E27FC236}">
                <a16:creationId xmlns:a16="http://schemas.microsoft.com/office/drawing/2014/main" id="{E24CE6E7-19D9-2743-6E50-89070A2451D3}"/>
              </a:ext>
            </a:extLst>
          </p:cNvPr>
          <p:cNvSpPr>
            <a:spLocks noGrp="1"/>
          </p:cNvSpPr>
          <p:nvPr>
            <p:ph type="ftr" sz="quarter" idx="3"/>
          </p:nvPr>
        </p:nvSpPr>
        <p:spPr>
          <a:xfrm>
            <a:off x="594283" y="6400800"/>
            <a:ext cx="7366262" cy="457200"/>
          </a:xfrm>
          <a:prstGeom prst="rect">
            <a:avLst/>
          </a:prstGeom>
        </p:spPr>
        <p:txBody>
          <a:bodyPr vert="horz" lIns="91440" tIns="45720" rIns="91440" bIns="45720" rtlCol="0" anchor="b" anchorCtr="0"/>
          <a:lstStyle>
            <a:lvl1pPr algn="l">
              <a:defRPr sz="900">
                <a:solidFill>
                  <a:schemeClr val="tx1"/>
                </a:solidFill>
              </a:defRPr>
            </a:lvl1pPr>
          </a:lstStyle>
          <a:p>
            <a:endParaRPr lang="en-US"/>
          </a:p>
        </p:txBody>
      </p:sp>
    </p:spTree>
    <p:extLst>
      <p:ext uri="{BB962C8B-B14F-4D97-AF65-F5344CB8AC3E}">
        <p14:creationId xmlns:p14="http://schemas.microsoft.com/office/powerpoint/2010/main" val="280473401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ext slide | Medical Affairs">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bwMode="gray">
          <a:xfrm>
            <a:off x="195844" y="6617933"/>
            <a:ext cx="392326" cy="108000"/>
          </a:xfrm>
        </p:spPr>
        <p:txBody>
          <a:bodyPr/>
          <a:lstStyle>
            <a:lvl1pPr>
              <a:defRPr>
                <a:solidFill>
                  <a:schemeClr val="accent2"/>
                </a:solidFill>
              </a:defRPr>
            </a:lvl1pPr>
          </a:lstStyle>
          <a:p>
            <a:fld id="{EEAD9179-7A6B-4268-BEB2-F3B8EB06115B}" type="slidenum">
              <a:rPr lang="en-US" smtClean="0"/>
              <a:pPr/>
              <a:t>‹#›</a:t>
            </a:fld>
            <a:endParaRPr lang="en-US"/>
          </a:p>
        </p:txBody>
      </p:sp>
      <p:pic>
        <p:nvPicPr>
          <p:cNvPr id="291" name="Picture 290">
            <a:extLst>
              <a:ext uri="{FF2B5EF4-FFF2-40B4-BE49-F238E27FC236}">
                <a16:creationId xmlns:a16="http://schemas.microsoft.com/office/drawing/2014/main" id="{5C9C3E83-B16B-40D7-89DC-9426FC551781}"/>
              </a:ext>
            </a:extLst>
          </p:cNvPr>
          <p:cNvPicPr>
            <a:picLocks noChangeAspect="1"/>
          </p:cNvPicPr>
          <p:nvPr userDrawn="1"/>
        </p:nvPicPr>
        <p:blipFill>
          <a:blip r:embed="rId2"/>
          <a:stretch>
            <a:fillRect/>
          </a:stretch>
        </p:blipFill>
        <p:spPr>
          <a:xfrm>
            <a:off x="1678602" y="-61548"/>
            <a:ext cx="8778704" cy="1143758"/>
          </a:xfrm>
          <a:prstGeom prst="rect">
            <a:avLst/>
          </a:prstGeom>
        </p:spPr>
      </p:pic>
      <p:sp>
        <p:nvSpPr>
          <p:cNvPr id="292" name="Rectangle 291">
            <a:extLst>
              <a:ext uri="{FF2B5EF4-FFF2-40B4-BE49-F238E27FC236}">
                <a16:creationId xmlns:a16="http://schemas.microsoft.com/office/drawing/2014/main" id="{B16EF64E-E09A-4562-9910-FEF357937A08}"/>
              </a:ext>
            </a:extLst>
          </p:cNvPr>
          <p:cNvSpPr/>
          <p:nvPr userDrawn="1"/>
        </p:nvSpPr>
        <p:spPr bwMode="gray">
          <a:xfrm>
            <a:off x="7166718" y="132068"/>
            <a:ext cx="3290587" cy="950144"/>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94" name="Group 293">
            <a:extLst>
              <a:ext uri="{FF2B5EF4-FFF2-40B4-BE49-F238E27FC236}">
                <a16:creationId xmlns:a16="http://schemas.microsoft.com/office/drawing/2014/main" id="{D39EE625-131A-4F1A-8726-C4D8BC255567}"/>
              </a:ext>
            </a:extLst>
          </p:cNvPr>
          <p:cNvGrpSpPr/>
          <p:nvPr userDrawn="1"/>
        </p:nvGrpSpPr>
        <p:grpSpPr>
          <a:xfrm>
            <a:off x="289422" y="132067"/>
            <a:ext cx="1342671" cy="902434"/>
            <a:chOff x="4686610" y="599435"/>
            <a:chExt cx="1342671" cy="902434"/>
          </a:xfrm>
        </p:grpSpPr>
        <p:sp>
          <p:nvSpPr>
            <p:cNvPr id="295" name="Rectangle 294">
              <a:extLst>
                <a:ext uri="{FF2B5EF4-FFF2-40B4-BE49-F238E27FC236}">
                  <a16:creationId xmlns:a16="http://schemas.microsoft.com/office/drawing/2014/main" id="{5251B9F1-5D4A-41AA-BD44-473100AB7DF4}"/>
                </a:ext>
              </a:extLst>
            </p:cNvPr>
            <p:cNvSpPr/>
            <p:nvPr/>
          </p:nvSpPr>
          <p:spPr bwMode="gray">
            <a:xfrm>
              <a:off x="4686610" y="599435"/>
              <a:ext cx="504827" cy="9024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96" name="Text Placeholder 2">
              <a:extLst>
                <a:ext uri="{FF2B5EF4-FFF2-40B4-BE49-F238E27FC236}">
                  <a16:creationId xmlns:a16="http://schemas.microsoft.com/office/drawing/2014/main" id="{11976313-84AD-4C65-917D-2832EA9CD063}"/>
                </a:ext>
              </a:extLst>
            </p:cNvPr>
            <p:cNvSpPr txBox="1">
              <a:spLocks/>
            </p:cNvSpPr>
            <p:nvPr/>
          </p:nvSpPr>
          <p:spPr bwMode="gray">
            <a:xfrm>
              <a:off x="5191437" y="599437"/>
              <a:ext cx="837844" cy="902432"/>
            </a:xfrm>
            <a:prstGeom prst="rect">
              <a:avLst/>
            </a:prstGeom>
            <a:solidFill>
              <a:schemeClr val="accent1"/>
            </a:solidFill>
          </p:spPr>
          <p:txBody>
            <a:bodyPr vert="horz" lIns="0" tIns="0" rIns="0" bIns="0" rtlCol="0" anchor="ctr">
              <a:noAutofit/>
            </a:bodyPr>
            <a:lstStyle>
              <a:lvl1pPr marL="0" indent="0" algn="l" defTabSz="914400" rtl="0" eaLnBrk="1" latinLnBrk="0" hangingPunct="1">
                <a:spcBef>
                  <a:spcPts val="600"/>
                </a:spcBef>
                <a:spcAft>
                  <a:spcPts val="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600"/>
                </a:spcBef>
                <a:spcAft>
                  <a:spcPts val="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600"/>
                </a:spcBef>
                <a:spcAft>
                  <a:spcPts val="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600"/>
                </a:spcBef>
                <a:spcAft>
                  <a:spcPts val="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600"/>
                </a:spcBef>
                <a:spcAft>
                  <a:spcPts val="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0" marR="0" lvl="0" indent="0" defTabSz="91430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accent2"/>
                  </a:solidFill>
                  <a:effectLst/>
                  <a:uLnTx/>
                  <a:uFillTx/>
                  <a:latin typeface="Arial"/>
                  <a:cs typeface="Arial"/>
                </a:rPr>
                <a:t>Click the hyperlinks to access the </a:t>
              </a:r>
              <a:r>
                <a:rPr lang="en-US" sz="1200" b="1">
                  <a:solidFill>
                    <a:schemeClr val="accent2"/>
                  </a:solidFill>
                  <a:latin typeface="Arial"/>
                  <a:cs typeface="Arial"/>
                </a:rPr>
                <a:t>slides</a:t>
              </a:r>
              <a:endParaRPr kumimoji="0" lang="en-US" sz="1200" b="0" i="0" u="none" strike="sngStrike" kern="0" cap="none" spc="0" normalizeH="0" baseline="0" noProof="0">
                <a:ln>
                  <a:noFill/>
                </a:ln>
                <a:solidFill>
                  <a:schemeClr val="accent2"/>
                </a:solidFill>
                <a:effectLst/>
                <a:uLnTx/>
                <a:uFillTx/>
                <a:latin typeface="Arial"/>
                <a:cs typeface="Arial"/>
              </a:endParaRPr>
            </a:p>
          </p:txBody>
        </p:sp>
        <p:pic>
          <p:nvPicPr>
            <p:cNvPr id="297" name="Graphic 296" descr="Zoom in">
              <a:extLst>
                <a:ext uri="{FF2B5EF4-FFF2-40B4-BE49-F238E27FC236}">
                  <a16:creationId xmlns:a16="http://schemas.microsoft.com/office/drawing/2014/main" id="{E1CDB36E-9B90-4318-A978-E8EC8351E2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34237" y="816068"/>
              <a:ext cx="457200" cy="457200"/>
            </a:xfrm>
            <a:prstGeom prst="rect">
              <a:avLst/>
            </a:prstGeom>
          </p:spPr>
        </p:pic>
      </p:grpSp>
      <p:sp>
        <p:nvSpPr>
          <p:cNvPr id="11" name="Rectangle 10">
            <a:extLst>
              <a:ext uri="{FF2B5EF4-FFF2-40B4-BE49-F238E27FC236}">
                <a16:creationId xmlns:a16="http://schemas.microsoft.com/office/drawing/2014/main" id="{A9BF2A06-B4B3-40E3-8877-14819F0B60CE}"/>
              </a:ext>
            </a:extLst>
          </p:cNvPr>
          <p:cNvSpPr/>
          <p:nvPr userDrawn="1"/>
        </p:nvSpPr>
        <p:spPr bwMode="gray">
          <a:xfrm>
            <a:off x="1678602" y="1"/>
            <a:ext cx="5488117" cy="1082210"/>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Footer Placeholder 4">
            <a:extLst>
              <a:ext uri="{FF2B5EF4-FFF2-40B4-BE49-F238E27FC236}">
                <a16:creationId xmlns:a16="http://schemas.microsoft.com/office/drawing/2014/main" id="{B9EC94DE-E57C-A946-0C3C-22F9519D08CC}"/>
              </a:ext>
            </a:extLst>
          </p:cNvPr>
          <p:cNvSpPr>
            <a:spLocks noGrp="1"/>
          </p:cNvSpPr>
          <p:nvPr>
            <p:ph type="ftr" sz="quarter" idx="3"/>
          </p:nvPr>
        </p:nvSpPr>
        <p:spPr>
          <a:xfrm>
            <a:off x="594283" y="6400800"/>
            <a:ext cx="7366262" cy="457200"/>
          </a:xfrm>
          <a:prstGeom prst="rect">
            <a:avLst/>
          </a:prstGeom>
        </p:spPr>
        <p:txBody>
          <a:bodyPr vert="horz" lIns="91440" tIns="45720" rIns="91440" bIns="45720" rtlCol="0" anchor="b" anchorCtr="0"/>
          <a:lstStyle>
            <a:lvl1pPr algn="l">
              <a:defRPr sz="900">
                <a:solidFill>
                  <a:schemeClr val="tx1"/>
                </a:solidFill>
              </a:defRPr>
            </a:lvl1pPr>
          </a:lstStyle>
          <a:p>
            <a:endParaRPr lang="en-US"/>
          </a:p>
        </p:txBody>
      </p:sp>
    </p:spTree>
    <p:extLst>
      <p:ext uri="{BB962C8B-B14F-4D97-AF65-F5344CB8AC3E}">
        <p14:creationId xmlns:p14="http://schemas.microsoft.com/office/powerpoint/2010/main" val="284341807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7934" y="1457960"/>
            <a:ext cx="11072958" cy="4663440"/>
          </a:xfrm>
          <a:prstGeom prst="rect">
            <a:avLst/>
          </a:prstGeom>
        </p:spPr>
        <p:txBody>
          <a:bodyPr/>
          <a:lstStyle>
            <a:lvl1pPr>
              <a:defRPr sz="1866"/>
            </a:lvl1pPr>
            <a:lvl5pPr marL="1219078" indent="-2285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a:t>CLICK TO EDIT MASTER TITLE STYLE</a:t>
            </a:r>
          </a:p>
        </p:txBody>
      </p:sp>
      <p:sp>
        <p:nvSpPr>
          <p:cNvPr id="6" name="Text Placeholder 11">
            <a:extLst>
              <a:ext uri="{FF2B5EF4-FFF2-40B4-BE49-F238E27FC236}">
                <a16:creationId xmlns:a16="http://schemas.microsoft.com/office/drawing/2014/main" id="{E075740C-AC93-44FF-B231-DAC8F765CC82}"/>
              </a:ext>
            </a:extLst>
          </p:cNvPr>
          <p:cNvSpPr>
            <a:spLocks noGrp="1"/>
          </p:cNvSpPr>
          <p:nvPr>
            <p:ph type="body" sz="quarter" idx="10" hasCustomPrompt="1"/>
          </p:nvPr>
        </p:nvSpPr>
        <p:spPr>
          <a:xfrm>
            <a:off x="507934" y="6121399"/>
            <a:ext cx="8970235" cy="375196"/>
          </a:xfrm>
          <a:noFill/>
        </p:spPr>
        <p:txBody>
          <a:bodyPr wrap="square" lIns="0" tIns="0" bIns="0" rtlCol="0" anchor="b">
            <a:noAutofit/>
          </a:bodyPr>
          <a:lstStyle>
            <a:lvl1pPr marL="0" indent="0">
              <a:spcBef>
                <a:spcPts val="100"/>
              </a:spcBef>
              <a:buFontTx/>
              <a:buNone/>
              <a:defRPr lang="en-US" sz="933" dirty="0">
                <a:solidFill>
                  <a:schemeClr val="bg1"/>
                </a:solidFill>
              </a:defRPr>
            </a:lvl1pPr>
          </a:lstStyle>
          <a:p>
            <a:pPr lvl="0" fontAlgn="base">
              <a:spcBef>
                <a:spcPct val="0"/>
              </a:spcBef>
              <a:spcAft>
                <a:spcPct val="0"/>
              </a:spcAft>
            </a:pPr>
            <a:r>
              <a:rPr lang="en-US"/>
              <a:t>Click to edit Master text styles</a:t>
            </a:r>
          </a:p>
        </p:txBody>
      </p:sp>
    </p:spTree>
    <p:extLst>
      <p:ext uri="{BB962C8B-B14F-4D97-AF65-F5344CB8AC3E}">
        <p14:creationId xmlns:p14="http://schemas.microsoft.com/office/powerpoint/2010/main" val="23729720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Text slide | Medical Affairs">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bwMode="gray">
          <a:xfrm>
            <a:off x="195844" y="6617933"/>
            <a:ext cx="392326" cy="108000"/>
          </a:xfrm>
        </p:spPr>
        <p:txBody>
          <a:bodyPr/>
          <a:lstStyle>
            <a:lvl1pPr>
              <a:defRPr>
                <a:solidFill>
                  <a:schemeClr val="accent2"/>
                </a:solidFill>
              </a:defRPr>
            </a:lvl1pPr>
          </a:lstStyle>
          <a:p>
            <a:fld id="{EEAD9179-7A6B-4268-BEB2-F3B8EB06115B}" type="slidenum">
              <a:rPr lang="en-US" smtClean="0"/>
              <a:pPr/>
              <a:t>‹#›</a:t>
            </a:fld>
            <a:endParaRPr lang="en-US"/>
          </a:p>
        </p:txBody>
      </p:sp>
      <p:pic>
        <p:nvPicPr>
          <p:cNvPr id="291" name="Picture 290">
            <a:extLst>
              <a:ext uri="{FF2B5EF4-FFF2-40B4-BE49-F238E27FC236}">
                <a16:creationId xmlns:a16="http://schemas.microsoft.com/office/drawing/2014/main" id="{5C9C3E83-B16B-40D7-89DC-9426FC551781}"/>
              </a:ext>
            </a:extLst>
          </p:cNvPr>
          <p:cNvPicPr>
            <a:picLocks noChangeAspect="1"/>
          </p:cNvPicPr>
          <p:nvPr userDrawn="1"/>
        </p:nvPicPr>
        <p:blipFill>
          <a:blip r:embed="rId2"/>
          <a:stretch>
            <a:fillRect/>
          </a:stretch>
        </p:blipFill>
        <p:spPr>
          <a:xfrm>
            <a:off x="1678602" y="-61548"/>
            <a:ext cx="8778704" cy="1143758"/>
          </a:xfrm>
          <a:prstGeom prst="rect">
            <a:avLst/>
          </a:prstGeom>
        </p:spPr>
      </p:pic>
      <p:grpSp>
        <p:nvGrpSpPr>
          <p:cNvPr id="294" name="Group 293">
            <a:extLst>
              <a:ext uri="{FF2B5EF4-FFF2-40B4-BE49-F238E27FC236}">
                <a16:creationId xmlns:a16="http://schemas.microsoft.com/office/drawing/2014/main" id="{D39EE625-131A-4F1A-8726-C4D8BC255567}"/>
              </a:ext>
            </a:extLst>
          </p:cNvPr>
          <p:cNvGrpSpPr/>
          <p:nvPr userDrawn="1"/>
        </p:nvGrpSpPr>
        <p:grpSpPr>
          <a:xfrm>
            <a:off x="289422" y="132067"/>
            <a:ext cx="1342671" cy="902434"/>
            <a:chOff x="4686610" y="599435"/>
            <a:chExt cx="1342671" cy="902434"/>
          </a:xfrm>
        </p:grpSpPr>
        <p:sp>
          <p:nvSpPr>
            <p:cNvPr id="295" name="Rectangle 294">
              <a:extLst>
                <a:ext uri="{FF2B5EF4-FFF2-40B4-BE49-F238E27FC236}">
                  <a16:creationId xmlns:a16="http://schemas.microsoft.com/office/drawing/2014/main" id="{5251B9F1-5D4A-41AA-BD44-473100AB7DF4}"/>
                </a:ext>
              </a:extLst>
            </p:cNvPr>
            <p:cNvSpPr/>
            <p:nvPr/>
          </p:nvSpPr>
          <p:spPr bwMode="gray">
            <a:xfrm>
              <a:off x="4686610" y="599435"/>
              <a:ext cx="504827" cy="9024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96" name="Text Placeholder 2">
              <a:extLst>
                <a:ext uri="{FF2B5EF4-FFF2-40B4-BE49-F238E27FC236}">
                  <a16:creationId xmlns:a16="http://schemas.microsoft.com/office/drawing/2014/main" id="{11976313-84AD-4C65-917D-2832EA9CD063}"/>
                </a:ext>
              </a:extLst>
            </p:cNvPr>
            <p:cNvSpPr txBox="1">
              <a:spLocks/>
            </p:cNvSpPr>
            <p:nvPr/>
          </p:nvSpPr>
          <p:spPr bwMode="gray">
            <a:xfrm>
              <a:off x="5191437" y="599437"/>
              <a:ext cx="837844" cy="902432"/>
            </a:xfrm>
            <a:prstGeom prst="rect">
              <a:avLst/>
            </a:prstGeom>
            <a:solidFill>
              <a:schemeClr val="accent1"/>
            </a:solidFill>
          </p:spPr>
          <p:txBody>
            <a:bodyPr vert="horz" lIns="0" tIns="0" rIns="0" bIns="0" rtlCol="0" anchor="ctr">
              <a:noAutofit/>
            </a:bodyPr>
            <a:lstStyle>
              <a:lvl1pPr marL="0" indent="0" algn="l" defTabSz="914400" rtl="0" eaLnBrk="1" latinLnBrk="0" hangingPunct="1">
                <a:spcBef>
                  <a:spcPts val="600"/>
                </a:spcBef>
                <a:spcAft>
                  <a:spcPts val="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600"/>
                </a:spcBef>
                <a:spcAft>
                  <a:spcPts val="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600"/>
                </a:spcBef>
                <a:spcAft>
                  <a:spcPts val="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600"/>
                </a:spcBef>
                <a:spcAft>
                  <a:spcPts val="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600"/>
                </a:spcBef>
                <a:spcAft>
                  <a:spcPts val="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0" marR="0" lvl="0" indent="0" defTabSz="91430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accent2"/>
                  </a:solidFill>
                  <a:effectLst/>
                  <a:uLnTx/>
                  <a:uFillTx/>
                  <a:latin typeface="Arial"/>
                  <a:cs typeface="Arial"/>
                </a:rPr>
                <a:t>Click the hyperlinks to access the </a:t>
              </a:r>
              <a:r>
                <a:rPr lang="en-US" sz="1200" b="1">
                  <a:solidFill>
                    <a:schemeClr val="accent2"/>
                  </a:solidFill>
                  <a:latin typeface="Arial"/>
                  <a:cs typeface="Arial"/>
                </a:rPr>
                <a:t>slides</a:t>
              </a:r>
              <a:endParaRPr kumimoji="0" lang="en-US" sz="1200" b="0" i="0" u="none" strike="sngStrike" kern="0" cap="none" spc="0" normalizeH="0" baseline="0" noProof="0">
                <a:ln>
                  <a:noFill/>
                </a:ln>
                <a:solidFill>
                  <a:schemeClr val="accent2"/>
                </a:solidFill>
                <a:effectLst/>
                <a:uLnTx/>
                <a:uFillTx/>
                <a:latin typeface="Arial"/>
                <a:cs typeface="Arial"/>
              </a:endParaRPr>
            </a:p>
          </p:txBody>
        </p:sp>
        <p:pic>
          <p:nvPicPr>
            <p:cNvPr id="297" name="Graphic 296" descr="Zoom in">
              <a:extLst>
                <a:ext uri="{FF2B5EF4-FFF2-40B4-BE49-F238E27FC236}">
                  <a16:creationId xmlns:a16="http://schemas.microsoft.com/office/drawing/2014/main" id="{E1CDB36E-9B90-4318-A978-E8EC8351E2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34237" y="816068"/>
              <a:ext cx="457200" cy="457200"/>
            </a:xfrm>
            <a:prstGeom prst="rect">
              <a:avLst/>
            </a:prstGeom>
          </p:spPr>
        </p:pic>
      </p:grpSp>
      <p:sp>
        <p:nvSpPr>
          <p:cNvPr id="11" name="Rectangle 10">
            <a:extLst>
              <a:ext uri="{FF2B5EF4-FFF2-40B4-BE49-F238E27FC236}">
                <a16:creationId xmlns:a16="http://schemas.microsoft.com/office/drawing/2014/main" id="{A9BF2A06-B4B3-40E3-8877-14819F0B60CE}"/>
              </a:ext>
            </a:extLst>
          </p:cNvPr>
          <p:cNvSpPr/>
          <p:nvPr userDrawn="1"/>
        </p:nvSpPr>
        <p:spPr bwMode="gray">
          <a:xfrm>
            <a:off x="1678603" y="1"/>
            <a:ext cx="2172461" cy="1082210"/>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Footer Placeholder 4">
            <a:extLst>
              <a:ext uri="{FF2B5EF4-FFF2-40B4-BE49-F238E27FC236}">
                <a16:creationId xmlns:a16="http://schemas.microsoft.com/office/drawing/2014/main" id="{2BAC3E89-0059-601E-C765-F6B13EB4EDF6}"/>
              </a:ext>
            </a:extLst>
          </p:cNvPr>
          <p:cNvSpPr>
            <a:spLocks noGrp="1"/>
          </p:cNvSpPr>
          <p:nvPr>
            <p:ph type="ftr" sz="quarter" idx="3"/>
          </p:nvPr>
        </p:nvSpPr>
        <p:spPr>
          <a:xfrm>
            <a:off x="594283" y="6400800"/>
            <a:ext cx="7366262" cy="457200"/>
          </a:xfrm>
          <a:prstGeom prst="rect">
            <a:avLst/>
          </a:prstGeom>
        </p:spPr>
        <p:txBody>
          <a:bodyPr vert="horz" lIns="91440" tIns="45720" rIns="91440" bIns="45720" rtlCol="0" anchor="b" anchorCtr="0"/>
          <a:lstStyle>
            <a:lvl1pPr algn="l">
              <a:defRPr sz="900">
                <a:solidFill>
                  <a:schemeClr val="tx1"/>
                </a:solidFill>
              </a:defRPr>
            </a:lvl1pPr>
          </a:lstStyle>
          <a:p>
            <a:endParaRPr lang="en-US"/>
          </a:p>
        </p:txBody>
      </p:sp>
    </p:spTree>
    <p:extLst>
      <p:ext uri="{BB962C8B-B14F-4D97-AF65-F5344CB8AC3E}">
        <p14:creationId xmlns:p14="http://schemas.microsoft.com/office/powerpoint/2010/main" val="193168036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Title Slide | Medical Affairs">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70F3F9D-98B9-408E-919D-3650F2975AB5}"/>
              </a:ext>
            </a:extLst>
          </p:cNvPr>
          <p:cNvPicPr>
            <a:picLocks/>
          </p:cNvPicPr>
          <p:nvPr userDrawn="1"/>
        </p:nvPicPr>
        <p:blipFill>
          <a:blip r:embed="rId2"/>
          <a:srcRect/>
          <a:stretch/>
        </p:blipFill>
        <p:spPr>
          <a:xfrm>
            <a:off x="2" y="1303"/>
            <a:ext cx="12188952" cy="6856285"/>
          </a:xfrm>
          <a:prstGeom prst="rect">
            <a:avLst/>
          </a:prstGeom>
        </p:spPr>
      </p:pic>
      <p:sp>
        <p:nvSpPr>
          <p:cNvPr id="20" name="Rectangle 19">
            <a:extLst>
              <a:ext uri="{FF2B5EF4-FFF2-40B4-BE49-F238E27FC236}">
                <a16:creationId xmlns:a16="http://schemas.microsoft.com/office/drawing/2014/main" id="{00AFC36A-37B1-4A09-A7C2-36248E5C66C0}"/>
              </a:ext>
            </a:extLst>
          </p:cNvPr>
          <p:cNvSpPr/>
          <p:nvPr userDrawn="1"/>
        </p:nvSpPr>
        <p:spPr bwMode="gray">
          <a:xfrm>
            <a:off x="0" y="0"/>
            <a:ext cx="12162622" cy="6858000"/>
          </a:xfrm>
          <a:prstGeom prst="rect">
            <a:avLst/>
          </a:prstGeom>
          <a:gradFill flip="none" rotWithShape="1">
            <a:gsLst>
              <a:gs pos="66000">
                <a:srgbClr val="10384F">
                  <a:alpha val="50000"/>
                </a:srgbClr>
              </a:gs>
              <a:gs pos="34000">
                <a:schemeClr val="accent1">
                  <a:alpha val="0"/>
                </a:schemeClr>
              </a:gs>
              <a:gs pos="96000">
                <a:schemeClr val="accent1">
                  <a:alpha val="7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Slide Number Placeholder 5"/>
          <p:cNvSpPr>
            <a:spLocks noGrp="1"/>
          </p:cNvSpPr>
          <p:nvPr>
            <p:ph type="sldNum" sz="quarter" idx="12"/>
          </p:nvPr>
        </p:nvSpPr>
        <p:spPr bwMode="gray"/>
        <p:txBody>
          <a:bodyPr/>
          <a:lstStyle>
            <a:lvl1pPr>
              <a:defRPr>
                <a:solidFill>
                  <a:schemeClr val="accent1">
                    <a:lumMod val="10000"/>
                    <a:lumOff val="90000"/>
                  </a:schemeClr>
                </a:solid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pic>
        <p:nvPicPr>
          <p:cNvPr id="13" name="Picture 2">
            <a:hlinkClick r:id="" action="ppaction://noaction"/>
            <a:extLst>
              <a:ext uri="{FF2B5EF4-FFF2-40B4-BE49-F238E27FC236}">
                <a16:creationId xmlns:a16="http://schemas.microsoft.com/office/drawing/2014/main" id="{74DD821E-0BEA-4333-816B-39A4E252D13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gray">
          <a:xfrm>
            <a:off x="11207827" y="191541"/>
            <a:ext cx="768792" cy="768792"/>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7846F539-2025-459A-A709-7BE030FF5D7B}"/>
              </a:ext>
            </a:extLst>
          </p:cNvPr>
          <p:cNvSpPr>
            <a:spLocks noGrp="1"/>
          </p:cNvSpPr>
          <p:nvPr>
            <p:ph type="ctrTitle" hasCustomPrompt="1"/>
          </p:nvPr>
        </p:nvSpPr>
        <p:spPr bwMode="black">
          <a:xfrm>
            <a:off x="506276" y="1949315"/>
            <a:ext cx="3830197" cy="1070976"/>
          </a:xfrm>
        </p:spPr>
        <p:txBody>
          <a:bodyPr anchor="t"/>
          <a:lstStyle>
            <a:lvl1pPr>
              <a:defRPr sz="2800" b="0" i="0">
                <a:solidFill>
                  <a:schemeClr val="bg1"/>
                </a:solidFill>
              </a:defRPr>
            </a:lvl1pPr>
          </a:lstStyle>
          <a:p>
            <a:r>
              <a:rPr lang="de-DE"/>
              <a:t>Section divider titles are set in Arial Regular sentence case 28pt</a:t>
            </a:r>
            <a:endParaRPr lang="en-US"/>
          </a:p>
        </p:txBody>
      </p:sp>
    </p:spTree>
    <p:extLst>
      <p:ext uri="{BB962C8B-B14F-4D97-AF65-F5344CB8AC3E}">
        <p14:creationId xmlns:p14="http://schemas.microsoft.com/office/powerpoint/2010/main" val="54071517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 Text slide | Medical Affair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9306" y="181938"/>
            <a:ext cx="10684867" cy="864000"/>
          </a:xfrm>
        </p:spPr>
        <p:txBody>
          <a:bodyPr/>
          <a:lstStyle>
            <a:lvl1pPr>
              <a:defRPr sz="2000"/>
            </a:lvl1pPr>
          </a:lstStyle>
          <a:p>
            <a:r>
              <a:rPr lang="en-US"/>
              <a:t>Click to edit Master title style</a:t>
            </a:r>
          </a:p>
        </p:txBody>
      </p:sp>
      <p:sp>
        <p:nvSpPr>
          <p:cNvPr id="13" name="Text Placeholder 12"/>
          <p:cNvSpPr>
            <a:spLocks noGrp="1"/>
          </p:cNvSpPr>
          <p:nvPr>
            <p:ph type="body" sz="quarter" idx="13"/>
          </p:nvPr>
        </p:nvSpPr>
        <p:spPr>
          <a:xfrm>
            <a:off x="457766" y="1491454"/>
            <a:ext cx="10686773" cy="2811953"/>
          </a:xfrm>
        </p:spPr>
        <p:txBody>
          <a:bodyPr/>
          <a:lstStyle>
            <a:lvl1pPr>
              <a:defRPr sz="1400"/>
            </a:lvl1pPr>
            <a:lvl2pPr>
              <a:defRPr sz="14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12"/>
          </p:nvPr>
        </p:nvSpPr>
        <p:spPr bwMode="gray">
          <a:xfrm>
            <a:off x="195844" y="6617933"/>
            <a:ext cx="392326" cy="108000"/>
          </a:xfrm>
        </p:spPr>
        <p:txBody>
          <a:bodyPr/>
          <a:lstStyle>
            <a:lvl1pPr>
              <a:defRPr>
                <a:solidFill>
                  <a:schemeClr val="accent2"/>
                </a:solidFill>
              </a:defRPr>
            </a:lvl1pPr>
          </a:lstStyle>
          <a:p>
            <a:fld id="{EEAD9179-7A6B-4268-BEB2-F3B8EB06115B}" type="slidenum">
              <a:rPr lang="en-US" smtClean="0"/>
              <a:pPr/>
              <a:t>‹#›</a:t>
            </a:fld>
            <a:endParaRPr lang="en-US"/>
          </a:p>
        </p:txBody>
      </p:sp>
      <p:sp>
        <p:nvSpPr>
          <p:cNvPr id="3" name="Text Placeholder 12">
            <a:extLst>
              <a:ext uri="{FF2B5EF4-FFF2-40B4-BE49-F238E27FC236}">
                <a16:creationId xmlns:a16="http://schemas.microsoft.com/office/drawing/2014/main" id="{758C7C20-0F60-1238-7B65-64BFF8BF234E}"/>
              </a:ext>
            </a:extLst>
          </p:cNvPr>
          <p:cNvSpPr>
            <a:spLocks noGrp="1"/>
          </p:cNvSpPr>
          <p:nvPr>
            <p:ph type="body" sz="quarter" idx="14" hasCustomPrompt="1"/>
          </p:nvPr>
        </p:nvSpPr>
        <p:spPr>
          <a:xfrm>
            <a:off x="1706114" y="6561541"/>
            <a:ext cx="8770647" cy="205212"/>
          </a:xfrm>
          <a:prstGeom prst="rect">
            <a:avLst/>
          </a:prstGeom>
        </p:spPr>
        <p:txBody>
          <a:bodyPr anchor="b" anchorCtr="0"/>
          <a:lstStyle>
            <a:lvl1pPr algn="l">
              <a:spcBef>
                <a:spcPts val="0"/>
              </a:spcBef>
              <a:spcAft>
                <a:spcPts val="0"/>
              </a:spcAft>
              <a:defRPr sz="900"/>
            </a:lvl1pPr>
          </a:lstStyle>
          <a:p>
            <a:pPr lvl="0"/>
            <a:r>
              <a:rPr lang="en-US"/>
              <a:t>Abbreviations</a:t>
            </a:r>
          </a:p>
        </p:txBody>
      </p:sp>
    </p:spTree>
    <p:extLst>
      <p:ext uri="{BB962C8B-B14F-4D97-AF65-F5344CB8AC3E}">
        <p14:creationId xmlns:p14="http://schemas.microsoft.com/office/powerpoint/2010/main" val="13242641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474544E1-1D09-AB48-85D9-A481C4FDF1D0}"/>
              </a:ext>
            </a:extLst>
          </p:cNvPr>
          <p:cNvGrpSpPr/>
          <p:nvPr userDrawn="1"/>
        </p:nvGrpSpPr>
        <p:grpSpPr>
          <a:xfrm>
            <a:off x="0" y="0"/>
            <a:ext cx="10111753" cy="6858000"/>
            <a:chOff x="20548" y="0"/>
            <a:chExt cx="10113069" cy="6858000"/>
          </a:xfrm>
        </p:grpSpPr>
        <p:sp>
          <p:nvSpPr>
            <p:cNvPr id="35" name="Parallelogram 34">
              <a:extLst>
                <a:ext uri="{FF2B5EF4-FFF2-40B4-BE49-F238E27FC236}">
                  <a16:creationId xmlns:a16="http://schemas.microsoft.com/office/drawing/2014/main" id="{82BFB1BB-79D2-BE49-B32E-796759290FA6}"/>
                </a:ext>
              </a:extLst>
            </p:cNvPr>
            <p:cNvSpPr/>
            <p:nvPr userDrawn="1"/>
          </p:nvSpPr>
          <p:spPr>
            <a:xfrm>
              <a:off x="6679217" y="0"/>
              <a:ext cx="3454400" cy="6858000"/>
            </a:xfrm>
            <a:prstGeom prst="parallelogram">
              <a:avLst>
                <a:gd name="adj" fmla="val 895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Freeform 24">
              <a:extLst>
                <a:ext uri="{FF2B5EF4-FFF2-40B4-BE49-F238E27FC236}">
                  <a16:creationId xmlns:a16="http://schemas.microsoft.com/office/drawing/2014/main" id="{AF1FF3CA-EB91-6949-9C97-5A2D57B5FF3D}"/>
                </a:ext>
              </a:extLst>
            </p:cNvPr>
            <p:cNvSpPr/>
            <p:nvPr userDrawn="1"/>
          </p:nvSpPr>
          <p:spPr>
            <a:xfrm>
              <a:off x="20548" y="0"/>
              <a:ext cx="9774153" cy="6858000"/>
            </a:xfrm>
            <a:custGeom>
              <a:avLst/>
              <a:gdLst>
                <a:gd name="connsiteX0" fmla="*/ 0 w 9774153"/>
                <a:gd name="connsiteY0" fmla="*/ 0 h 6858000"/>
                <a:gd name="connsiteX1" fmla="*/ 175545 w 9774153"/>
                <a:gd name="connsiteY1" fmla="*/ 0 h 6858000"/>
                <a:gd name="connsiteX2" fmla="*/ 9598608 w 9774153"/>
                <a:gd name="connsiteY2" fmla="*/ 0 h 6858000"/>
                <a:gd name="connsiteX3" fmla="*/ 9774153 w 9774153"/>
                <a:gd name="connsiteY3" fmla="*/ 0 h 6858000"/>
                <a:gd name="connsiteX4" fmla="*/ 6679218 w 9774153"/>
                <a:gd name="connsiteY4" fmla="*/ 6858000 h 6858000"/>
                <a:gd name="connsiteX5" fmla="*/ 6503673 w 9774153"/>
                <a:gd name="connsiteY5" fmla="*/ 6858000 h 6858000"/>
                <a:gd name="connsiteX6" fmla="*/ 175545 w 9774153"/>
                <a:gd name="connsiteY6" fmla="*/ 6858000 h 6858000"/>
                <a:gd name="connsiteX7" fmla="*/ 0 w 9774153"/>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4153" h="6858000">
                  <a:moveTo>
                    <a:pt x="0" y="0"/>
                  </a:moveTo>
                  <a:lnTo>
                    <a:pt x="175545" y="0"/>
                  </a:lnTo>
                  <a:lnTo>
                    <a:pt x="9598608" y="0"/>
                  </a:lnTo>
                  <a:lnTo>
                    <a:pt x="9774153" y="0"/>
                  </a:lnTo>
                  <a:lnTo>
                    <a:pt x="6679218" y="6858000"/>
                  </a:lnTo>
                  <a:lnTo>
                    <a:pt x="6503673" y="6858000"/>
                  </a:lnTo>
                  <a:lnTo>
                    <a:pt x="175545" y="6858000"/>
                  </a:lnTo>
                  <a:lnTo>
                    <a:pt x="0" y="6858000"/>
                  </a:lnTo>
                  <a:close/>
                </a:path>
              </a:pathLst>
            </a:custGeom>
            <a:solidFill>
              <a:srgbClr val="1F428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2" name="Title 1">
            <a:extLst>
              <a:ext uri="{FF2B5EF4-FFF2-40B4-BE49-F238E27FC236}">
                <a16:creationId xmlns:a16="http://schemas.microsoft.com/office/drawing/2014/main" id="{6FC5B6C0-649B-F34D-9E2D-93A14AB7DD75}"/>
              </a:ext>
            </a:extLst>
          </p:cNvPr>
          <p:cNvSpPr>
            <a:spLocks noGrp="1"/>
          </p:cNvSpPr>
          <p:nvPr userDrawn="1">
            <p:ph type="ctrTitle" hasCustomPrompt="1"/>
          </p:nvPr>
        </p:nvSpPr>
        <p:spPr>
          <a:xfrm>
            <a:off x="495235" y="1122363"/>
            <a:ext cx="7216525" cy="2387600"/>
          </a:xfrm>
        </p:spPr>
        <p:txBody>
          <a:bodyPr anchor="b">
            <a:normAutofit/>
          </a:bodyPr>
          <a:lstStyle>
            <a:lvl1pPr algn="l">
              <a:defRPr sz="3600" baseline="0"/>
            </a:lvl1pPr>
          </a:lstStyle>
          <a:p>
            <a:r>
              <a:rPr lang="en-US" dirty="0"/>
              <a:t>Click to edit </a:t>
            </a:r>
            <a:br>
              <a:rPr lang="en-US" dirty="0"/>
            </a:br>
            <a:r>
              <a:rPr lang="en-US" dirty="0"/>
              <a:t>Master title style</a:t>
            </a:r>
          </a:p>
        </p:txBody>
      </p:sp>
      <p:sp>
        <p:nvSpPr>
          <p:cNvPr id="3" name="Subtitle 2">
            <a:extLst>
              <a:ext uri="{FF2B5EF4-FFF2-40B4-BE49-F238E27FC236}">
                <a16:creationId xmlns:a16="http://schemas.microsoft.com/office/drawing/2014/main" id="{906DEC47-4B15-AF45-87E9-F97131FB157A}"/>
              </a:ext>
            </a:extLst>
          </p:cNvPr>
          <p:cNvSpPr>
            <a:spLocks noGrp="1"/>
          </p:cNvSpPr>
          <p:nvPr userDrawn="1">
            <p:ph type="subTitle" idx="1"/>
          </p:nvPr>
        </p:nvSpPr>
        <p:spPr>
          <a:xfrm>
            <a:off x="495235" y="3602038"/>
            <a:ext cx="7216525" cy="1655762"/>
          </a:xfrm>
        </p:spPr>
        <p:txBody>
          <a:bodyPr lIns="27432">
            <a:normAutofit/>
          </a:bodyPr>
          <a:lstStyle>
            <a:lvl1pPr marL="0" indent="0" algn="l">
              <a:spcBef>
                <a:spcPts val="600"/>
              </a:spcBef>
              <a:buNone/>
              <a:tabLst>
                <a:tab pos="1139711" algn="l"/>
              </a:tabLst>
              <a:defRPr sz="2000" u="none" baseline="0">
                <a:solidFill>
                  <a:schemeClr val="tx2"/>
                </a:solidFill>
                <a:uFill>
                  <a:solidFill>
                    <a:schemeClr val="accent1"/>
                  </a:solidFill>
                </a:u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8F5BEB15-B2B8-354F-A837-87D401F033E7}"/>
              </a:ext>
            </a:extLst>
          </p:cNvPr>
          <p:cNvPicPr>
            <a:picLocks noChangeAspect="1"/>
          </p:cNvPicPr>
          <p:nvPr userDrawn="1"/>
        </p:nvPicPr>
        <p:blipFill>
          <a:blip r:embed="rId2"/>
          <a:srcRect/>
          <a:stretch/>
        </p:blipFill>
        <p:spPr>
          <a:xfrm>
            <a:off x="8848677" y="4348905"/>
            <a:ext cx="3164696" cy="2149233"/>
          </a:xfrm>
          <a:prstGeom prst="rect">
            <a:avLst/>
          </a:prstGeom>
        </p:spPr>
      </p:pic>
      <p:pic>
        <p:nvPicPr>
          <p:cNvPr id="18" name="Picture 17">
            <a:extLst>
              <a:ext uri="{FF2B5EF4-FFF2-40B4-BE49-F238E27FC236}">
                <a16:creationId xmlns:a16="http://schemas.microsoft.com/office/drawing/2014/main" id="{8C30099A-3FDF-224E-9AED-73506F5DD8C4}"/>
              </a:ext>
            </a:extLst>
          </p:cNvPr>
          <p:cNvPicPr>
            <a:picLocks noChangeAspect="1"/>
          </p:cNvPicPr>
          <p:nvPr userDrawn="1"/>
        </p:nvPicPr>
        <p:blipFill>
          <a:blip r:embed="rId3"/>
          <a:stretch>
            <a:fillRect/>
          </a:stretch>
        </p:blipFill>
        <p:spPr>
          <a:xfrm>
            <a:off x="13295285" y="336925"/>
            <a:ext cx="1014384" cy="401637"/>
          </a:xfrm>
          <a:prstGeom prst="rect">
            <a:avLst/>
          </a:prstGeom>
        </p:spPr>
      </p:pic>
      <p:sp>
        <p:nvSpPr>
          <p:cNvPr id="20" name="Date Placeholder 19">
            <a:extLst>
              <a:ext uri="{FF2B5EF4-FFF2-40B4-BE49-F238E27FC236}">
                <a16:creationId xmlns:a16="http://schemas.microsoft.com/office/drawing/2014/main" id="{BD3DC730-8A32-F84B-9876-9110A37E47CF}"/>
              </a:ext>
            </a:extLst>
          </p:cNvPr>
          <p:cNvSpPr>
            <a:spLocks noGrp="1"/>
          </p:cNvSpPr>
          <p:nvPr userDrawn="1">
            <p:ph type="dt" sz="half" idx="10"/>
          </p:nvPr>
        </p:nvSpPr>
        <p:spPr/>
        <p:txBody>
          <a:bodyPr/>
          <a:lstStyle/>
          <a:p>
            <a:fld id="{3CE44606-D3B9-6C43-82A9-F1CDB5D49BFD}" type="datetime1">
              <a:rPr lang="en-US" smtClean="0"/>
              <a:t>6/7/2024</a:t>
            </a:fld>
            <a:endParaRPr lang="en-US" dirty="0"/>
          </a:p>
        </p:txBody>
      </p:sp>
      <p:sp>
        <p:nvSpPr>
          <p:cNvPr id="21" name="Footer Placeholder 20">
            <a:extLst>
              <a:ext uri="{FF2B5EF4-FFF2-40B4-BE49-F238E27FC236}">
                <a16:creationId xmlns:a16="http://schemas.microsoft.com/office/drawing/2014/main" id="{A1FC7EC5-A43F-E445-8E38-FD6B75E4F649}"/>
              </a:ext>
            </a:extLst>
          </p:cNvPr>
          <p:cNvSpPr>
            <a:spLocks noGrp="1"/>
          </p:cNvSpPr>
          <p:nvPr userDrawn="1">
            <p:ph type="ftr" sz="quarter" idx="11"/>
          </p:nvPr>
        </p:nvSpPr>
        <p:spPr>
          <a:xfrm>
            <a:off x="4038075" y="6356351"/>
            <a:ext cx="3530783" cy="365125"/>
          </a:xfrm>
        </p:spPr>
        <p:txBody>
          <a:bodyPr/>
          <a:lstStyle/>
          <a:p>
            <a:r>
              <a:rPr lang="en-US" dirty="0"/>
              <a:t>FOR INTERNAL USE ONLY</a:t>
            </a:r>
          </a:p>
        </p:txBody>
      </p:sp>
      <p:sp>
        <p:nvSpPr>
          <p:cNvPr id="22" name="Slide Number Placeholder 21">
            <a:extLst>
              <a:ext uri="{FF2B5EF4-FFF2-40B4-BE49-F238E27FC236}">
                <a16:creationId xmlns:a16="http://schemas.microsoft.com/office/drawing/2014/main" id="{8C7C6FA7-3214-9D45-89CA-C2538FCFB86D}"/>
              </a:ext>
            </a:extLst>
          </p:cNvPr>
          <p:cNvSpPr>
            <a:spLocks noGrp="1"/>
          </p:cNvSpPr>
          <p:nvPr userDrawn="1">
            <p:ph type="sldNum" sz="quarter" idx="12"/>
          </p:nvPr>
        </p:nvSpPr>
        <p:spPr/>
        <p:txBody>
          <a:bodyPr/>
          <a:lstStyle/>
          <a:p>
            <a:fld id="{C0AFECD8-B8AF-5C4E-B306-A0438013ED66}" type="slidenum">
              <a:rPr lang="en-US" smtClean="0"/>
              <a:pPr/>
              <a:t>‹#›</a:t>
            </a:fld>
            <a:endParaRPr lang="en-US" dirty="0"/>
          </a:p>
        </p:txBody>
      </p:sp>
      <p:grpSp>
        <p:nvGrpSpPr>
          <p:cNvPr id="26" name="Group 25">
            <a:extLst>
              <a:ext uri="{FF2B5EF4-FFF2-40B4-BE49-F238E27FC236}">
                <a16:creationId xmlns:a16="http://schemas.microsoft.com/office/drawing/2014/main" id="{FF894715-2381-2544-8D3E-69C2484082E1}"/>
              </a:ext>
            </a:extLst>
          </p:cNvPr>
          <p:cNvGrpSpPr/>
          <p:nvPr userDrawn="1"/>
        </p:nvGrpSpPr>
        <p:grpSpPr>
          <a:xfrm>
            <a:off x="10045517" y="231452"/>
            <a:ext cx="1930338" cy="549371"/>
            <a:chOff x="8736118" y="1637730"/>
            <a:chExt cx="2478142" cy="705184"/>
          </a:xfrm>
        </p:grpSpPr>
        <p:pic>
          <p:nvPicPr>
            <p:cNvPr id="27" name="Picture 26">
              <a:extLst>
                <a:ext uri="{FF2B5EF4-FFF2-40B4-BE49-F238E27FC236}">
                  <a16:creationId xmlns:a16="http://schemas.microsoft.com/office/drawing/2014/main" id="{FC05D1E0-697E-A64A-BEEE-8165753E26B3}"/>
                </a:ext>
              </a:extLst>
            </p:cNvPr>
            <p:cNvPicPr>
              <a:picLocks noChangeAspect="1"/>
            </p:cNvPicPr>
            <p:nvPr userDrawn="1"/>
          </p:nvPicPr>
          <p:blipFill>
            <a:blip r:embed="rId4"/>
            <a:stretch>
              <a:fillRect/>
            </a:stretch>
          </p:blipFill>
          <p:spPr>
            <a:xfrm>
              <a:off x="10509076" y="1637730"/>
              <a:ext cx="705184" cy="705184"/>
            </a:xfrm>
            <a:prstGeom prst="rect">
              <a:avLst/>
            </a:prstGeom>
          </p:spPr>
        </p:pic>
        <p:pic>
          <p:nvPicPr>
            <p:cNvPr id="28" name="Picture 27">
              <a:extLst>
                <a:ext uri="{FF2B5EF4-FFF2-40B4-BE49-F238E27FC236}">
                  <a16:creationId xmlns:a16="http://schemas.microsoft.com/office/drawing/2014/main" id="{6A8BB81E-499F-2B44-B243-C09A0FEBB5A1}"/>
                </a:ext>
              </a:extLst>
            </p:cNvPr>
            <p:cNvPicPr>
              <a:picLocks noChangeAspect="1"/>
            </p:cNvPicPr>
            <p:nvPr userDrawn="1"/>
          </p:nvPicPr>
          <p:blipFill>
            <a:blip r:embed="rId3"/>
            <a:stretch>
              <a:fillRect/>
            </a:stretch>
          </p:blipFill>
          <p:spPr>
            <a:xfrm>
              <a:off x="8736118" y="1728542"/>
              <a:ext cx="1397890" cy="553411"/>
            </a:xfrm>
            <a:prstGeom prst="rect">
              <a:avLst/>
            </a:prstGeom>
          </p:spPr>
        </p:pic>
      </p:grpSp>
    </p:spTree>
    <p:extLst>
      <p:ext uri="{BB962C8B-B14F-4D97-AF65-F5344CB8AC3E}">
        <p14:creationId xmlns:p14="http://schemas.microsoft.com/office/powerpoint/2010/main" val="29833466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accent2"/>
        </a:solidFill>
        <a:effectLst/>
      </p:bgPr>
    </p:bg>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3375C0B6-51F5-4644-852C-D4408F558C71}"/>
              </a:ext>
            </a:extLst>
          </p:cNvPr>
          <p:cNvGrpSpPr/>
          <p:nvPr userDrawn="1"/>
        </p:nvGrpSpPr>
        <p:grpSpPr>
          <a:xfrm>
            <a:off x="0" y="0"/>
            <a:ext cx="7811409" cy="6858000"/>
            <a:chOff x="29765" y="0"/>
            <a:chExt cx="7812426" cy="6858000"/>
          </a:xfrm>
        </p:grpSpPr>
        <p:sp>
          <p:nvSpPr>
            <p:cNvPr id="32" name="Parallelogram 31">
              <a:extLst>
                <a:ext uri="{FF2B5EF4-FFF2-40B4-BE49-F238E27FC236}">
                  <a16:creationId xmlns:a16="http://schemas.microsoft.com/office/drawing/2014/main" id="{26ECE3BE-FA01-FA44-8A4D-A422F5F6054A}"/>
                </a:ext>
              </a:extLst>
            </p:cNvPr>
            <p:cNvSpPr/>
            <p:nvPr userDrawn="1"/>
          </p:nvSpPr>
          <p:spPr>
            <a:xfrm>
              <a:off x="4387791" y="0"/>
              <a:ext cx="3454400" cy="6858000"/>
            </a:xfrm>
            <a:prstGeom prst="parallelogram">
              <a:avLst>
                <a:gd name="adj" fmla="val 895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4" name="Freeform 23">
              <a:extLst>
                <a:ext uri="{FF2B5EF4-FFF2-40B4-BE49-F238E27FC236}">
                  <a16:creationId xmlns:a16="http://schemas.microsoft.com/office/drawing/2014/main" id="{8D2A5B07-B3EF-B044-AC38-067826BFF065}"/>
                </a:ext>
              </a:extLst>
            </p:cNvPr>
            <p:cNvSpPr/>
            <p:nvPr userDrawn="1"/>
          </p:nvSpPr>
          <p:spPr>
            <a:xfrm>
              <a:off x="29765" y="0"/>
              <a:ext cx="7495273" cy="6858000"/>
            </a:xfrm>
            <a:custGeom>
              <a:avLst/>
              <a:gdLst>
                <a:gd name="connsiteX0" fmla="*/ 0 w 7495273"/>
                <a:gd name="connsiteY0" fmla="*/ 0 h 6858000"/>
                <a:gd name="connsiteX1" fmla="*/ 7495273 w 7495273"/>
                <a:gd name="connsiteY1" fmla="*/ 0 h 6858000"/>
                <a:gd name="connsiteX2" fmla="*/ 4400338 w 7495273"/>
                <a:gd name="connsiteY2" fmla="*/ 6858000 h 6858000"/>
                <a:gd name="connsiteX3" fmla="*/ 0 w 749527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495273" h="6858000">
                  <a:moveTo>
                    <a:pt x="0" y="0"/>
                  </a:moveTo>
                  <a:lnTo>
                    <a:pt x="7495273" y="0"/>
                  </a:lnTo>
                  <a:lnTo>
                    <a:pt x="4400338" y="6858000"/>
                  </a:lnTo>
                  <a:lnTo>
                    <a:pt x="0" y="6858000"/>
                  </a:lnTo>
                  <a:close/>
                </a:path>
              </a:pathLst>
            </a:custGeom>
            <a:solidFill>
              <a:srgbClr val="1F4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52BF1972-FC50-DE4D-AE22-907B3D2C4DAD}"/>
              </a:ext>
            </a:extLst>
          </p:cNvPr>
          <p:cNvSpPr>
            <a:spLocks noGrp="1"/>
          </p:cNvSpPr>
          <p:nvPr>
            <p:ph type="title"/>
          </p:nvPr>
        </p:nvSpPr>
        <p:spPr>
          <a:xfrm>
            <a:off x="495236" y="1686293"/>
            <a:ext cx="4823495" cy="2852737"/>
          </a:xfrm>
        </p:spPr>
        <p:txBody>
          <a:bodyPr anchor="b">
            <a:normAutofit/>
          </a:bodyPr>
          <a:lstStyle>
            <a:lvl1pPr>
              <a:defRPr sz="3600" baseline="0"/>
            </a:lvl1pPr>
          </a:lstStyle>
          <a:p>
            <a:r>
              <a:rPr lang="en-US" dirty="0"/>
              <a:t>Click to edit Master title style</a:t>
            </a:r>
          </a:p>
        </p:txBody>
      </p:sp>
      <p:sp>
        <p:nvSpPr>
          <p:cNvPr id="3" name="Text Placeholder 2">
            <a:extLst>
              <a:ext uri="{FF2B5EF4-FFF2-40B4-BE49-F238E27FC236}">
                <a16:creationId xmlns:a16="http://schemas.microsoft.com/office/drawing/2014/main" id="{BA0DB6AB-7FF3-7B43-AE11-D083736F811B}"/>
              </a:ext>
            </a:extLst>
          </p:cNvPr>
          <p:cNvSpPr>
            <a:spLocks noGrp="1"/>
          </p:cNvSpPr>
          <p:nvPr>
            <p:ph type="body" idx="1"/>
          </p:nvPr>
        </p:nvSpPr>
        <p:spPr>
          <a:xfrm>
            <a:off x="495236" y="4589464"/>
            <a:ext cx="4492235" cy="1500187"/>
          </a:xfrm>
        </p:spPr>
        <p:txBody>
          <a:bodyPr lIns="27432"/>
          <a:lstStyle>
            <a:lvl1pPr marL="0" indent="0">
              <a:buNone/>
              <a:defRPr sz="2000" baseline="0">
                <a:solidFill>
                  <a:schemeClr val="tx2"/>
                </a:solidFill>
              </a:defRPr>
            </a:lvl1pPr>
            <a:lvl2pPr marL="457154" indent="0">
              <a:buNone/>
              <a:defRPr sz="2000">
                <a:solidFill>
                  <a:schemeClr val="tx1">
                    <a:tint val="75000"/>
                  </a:schemeClr>
                </a:solidFill>
              </a:defRPr>
            </a:lvl2pPr>
            <a:lvl3pPr marL="914309" indent="0">
              <a:buNone/>
              <a:defRPr sz="1800">
                <a:solidFill>
                  <a:schemeClr val="tx1">
                    <a:tint val="75000"/>
                  </a:schemeClr>
                </a:solidFill>
              </a:defRPr>
            </a:lvl3pPr>
            <a:lvl4pPr marL="1371463" indent="0">
              <a:buNone/>
              <a:defRPr sz="1600">
                <a:solidFill>
                  <a:schemeClr val="tx1">
                    <a:tint val="75000"/>
                  </a:schemeClr>
                </a:solidFill>
              </a:defRPr>
            </a:lvl4pPr>
            <a:lvl5pPr marL="1828617" indent="0">
              <a:buNone/>
              <a:defRPr sz="1600">
                <a:solidFill>
                  <a:schemeClr val="tx1">
                    <a:tint val="75000"/>
                  </a:schemeClr>
                </a:solidFill>
              </a:defRPr>
            </a:lvl5pPr>
            <a:lvl6pPr marL="2285771" indent="0">
              <a:buNone/>
              <a:defRPr sz="1600">
                <a:solidFill>
                  <a:schemeClr val="tx1">
                    <a:tint val="75000"/>
                  </a:schemeClr>
                </a:solidFill>
              </a:defRPr>
            </a:lvl6pPr>
            <a:lvl7pPr marL="2742926" indent="0">
              <a:buNone/>
              <a:defRPr sz="1600">
                <a:solidFill>
                  <a:schemeClr val="tx1">
                    <a:tint val="75000"/>
                  </a:schemeClr>
                </a:solidFill>
              </a:defRPr>
            </a:lvl7pPr>
            <a:lvl8pPr marL="3200080" indent="0">
              <a:buNone/>
              <a:defRPr sz="1600">
                <a:solidFill>
                  <a:schemeClr val="tx1">
                    <a:tint val="75000"/>
                  </a:schemeClr>
                </a:solidFill>
              </a:defRPr>
            </a:lvl8pPr>
            <a:lvl9pPr marL="3657234" indent="0">
              <a:buNone/>
              <a:defRPr sz="16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E7364FE2-A2E9-EB40-B6D3-106D5067DFDE}"/>
              </a:ext>
            </a:extLst>
          </p:cNvPr>
          <p:cNvSpPr>
            <a:spLocks noGrp="1"/>
          </p:cNvSpPr>
          <p:nvPr>
            <p:ph type="dt" sz="half" idx="10"/>
          </p:nvPr>
        </p:nvSpPr>
        <p:spPr/>
        <p:txBody>
          <a:bodyPr/>
          <a:lstStyle/>
          <a:p>
            <a:fld id="{84768215-1EA3-4546-AC03-C34B3AB5989B}" type="datetime1">
              <a:rPr lang="en-US" smtClean="0"/>
              <a:t>6/7/2024</a:t>
            </a:fld>
            <a:endParaRPr lang="en-US" dirty="0"/>
          </a:p>
        </p:txBody>
      </p:sp>
      <p:sp>
        <p:nvSpPr>
          <p:cNvPr id="5" name="Footer Placeholder 4">
            <a:extLst>
              <a:ext uri="{FF2B5EF4-FFF2-40B4-BE49-F238E27FC236}">
                <a16:creationId xmlns:a16="http://schemas.microsoft.com/office/drawing/2014/main" id="{2E176550-E523-9544-97FD-F93FBD1E6860}"/>
              </a:ext>
            </a:extLst>
          </p:cNvPr>
          <p:cNvSpPr>
            <a:spLocks noGrp="1"/>
          </p:cNvSpPr>
          <p:nvPr>
            <p:ph type="ftr" sz="quarter" idx="11"/>
          </p:nvPr>
        </p:nvSpPr>
        <p:spPr>
          <a:xfrm>
            <a:off x="4304347" y="6356351"/>
            <a:ext cx="3581720" cy="365125"/>
          </a:xfrm>
        </p:spPr>
        <p:txBody>
          <a:bodyPr/>
          <a:lstStyle>
            <a:lvl1pPr algn="ctr">
              <a:defRPr b="1" i="0" baseline="0">
                <a:solidFill>
                  <a:schemeClr val="bg1"/>
                </a:solidFill>
              </a:defRPr>
            </a:lvl1pPr>
          </a:lstStyle>
          <a:p>
            <a:r>
              <a:rPr lang="en-US"/>
              <a:t>FOR INTERNAL USE ONLY</a:t>
            </a:r>
            <a:endParaRPr lang="en-US" dirty="0"/>
          </a:p>
        </p:txBody>
      </p:sp>
      <p:sp>
        <p:nvSpPr>
          <p:cNvPr id="6" name="Slide Number Placeholder 5">
            <a:extLst>
              <a:ext uri="{FF2B5EF4-FFF2-40B4-BE49-F238E27FC236}">
                <a16:creationId xmlns:a16="http://schemas.microsoft.com/office/drawing/2014/main" id="{980BA57B-D34A-7848-BBFC-D523E2CDD07E}"/>
              </a:ext>
            </a:extLst>
          </p:cNvPr>
          <p:cNvSpPr>
            <a:spLocks noGrp="1"/>
          </p:cNvSpPr>
          <p:nvPr>
            <p:ph type="sldNum" sz="quarter" idx="12"/>
          </p:nvPr>
        </p:nvSpPr>
        <p:spPr/>
        <p:txBody>
          <a:bodyPr/>
          <a:lstStyle/>
          <a:p>
            <a:fld id="{C0AFECD8-B8AF-5C4E-B306-A0438013ED66}" type="slidenum">
              <a:rPr lang="en-US" smtClean="0"/>
              <a:t>‹#›</a:t>
            </a:fld>
            <a:endParaRPr lang="en-US" dirty="0"/>
          </a:p>
        </p:txBody>
      </p:sp>
      <p:pic>
        <p:nvPicPr>
          <p:cNvPr id="12" name="Picture 11">
            <a:extLst>
              <a:ext uri="{FF2B5EF4-FFF2-40B4-BE49-F238E27FC236}">
                <a16:creationId xmlns:a16="http://schemas.microsoft.com/office/drawing/2014/main" id="{934AB8BD-99E5-6F4A-A7A6-C8FE77ADC603}"/>
              </a:ext>
            </a:extLst>
          </p:cNvPr>
          <p:cNvPicPr>
            <a:picLocks noChangeAspect="1"/>
          </p:cNvPicPr>
          <p:nvPr userDrawn="1"/>
        </p:nvPicPr>
        <p:blipFill>
          <a:blip r:embed="rId2"/>
          <a:srcRect/>
          <a:stretch/>
        </p:blipFill>
        <p:spPr>
          <a:xfrm>
            <a:off x="8848677" y="4348905"/>
            <a:ext cx="3164696" cy="2149233"/>
          </a:xfrm>
          <a:prstGeom prst="rect">
            <a:avLst/>
          </a:prstGeom>
        </p:spPr>
      </p:pic>
      <p:grpSp>
        <p:nvGrpSpPr>
          <p:cNvPr id="17" name="Group 16">
            <a:extLst>
              <a:ext uri="{FF2B5EF4-FFF2-40B4-BE49-F238E27FC236}">
                <a16:creationId xmlns:a16="http://schemas.microsoft.com/office/drawing/2014/main" id="{FB3D1BB3-7A61-A64E-9A27-A2B35D34007A}"/>
              </a:ext>
            </a:extLst>
          </p:cNvPr>
          <p:cNvGrpSpPr/>
          <p:nvPr userDrawn="1"/>
        </p:nvGrpSpPr>
        <p:grpSpPr>
          <a:xfrm>
            <a:off x="10045517" y="231452"/>
            <a:ext cx="1930338" cy="549371"/>
            <a:chOff x="8736118" y="1637730"/>
            <a:chExt cx="2478142" cy="705184"/>
          </a:xfrm>
        </p:grpSpPr>
        <p:pic>
          <p:nvPicPr>
            <p:cNvPr id="18" name="Picture 17">
              <a:extLst>
                <a:ext uri="{FF2B5EF4-FFF2-40B4-BE49-F238E27FC236}">
                  <a16:creationId xmlns:a16="http://schemas.microsoft.com/office/drawing/2014/main" id="{874743B5-B2B5-1643-B456-A2991DAEBB1B}"/>
                </a:ext>
              </a:extLst>
            </p:cNvPr>
            <p:cNvPicPr>
              <a:picLocks noChangeAspect="1"/>
            </p:cNvPicPr>
            <p:nvPr userDrawn="1"/>
          </p:nvPicPr>
          <p:blipFill>
            <a:blip r:embed="rId3"/>
            <a:stretch>
              <a:fillRect/>
            </a:stretch>
          </p:blipFill>
          <p:spPr>
            <a:xfrm>
              <a:off x="10509076" y="1637730"/>
              <a:ext cx="705184" cy="705184"/>
            </a:xfrm>
            <a:prstGeom prst="rect">
              <a:avLst/>
            </a:prstGeom>
          </p:spPr>
        </p:pic>
        <p:pic>
          <p:nvPicPr>
            <p:cNvPr id="19" name="Picture 18">
              <a:extLst>
                <a:ext uri="{FF2B5EF4-FFF2-40B4-BE49-F238E27FC236}">
                  <a16:creationId xmlns:a16="http://schemas.microsoft.com/office/drawing/2014/main" id="{559C87F7-1065-B74C-ACFD-F14A65DB4B94}"/>
                </a:ext>
              </a:extLst>
            </p:cNvPr>
            <p:cNvPicPr>
              <a:picLocks noChangeAspect="1"/>
            </p:cNvPicPr>
            <p:nvPr userDrawn="1"/>
          </p:nvPicPr>
          <p:blipFill>
            <a:blip r:embed="rId4"/>
            <a:stretch>
              <a:fillRect/>
            </a:stretch>
          </p:blipFill>
          <p:spPr>
            <a:xfrm>
              <a:off x="8736118" y="1728542"/>
              <a:ext cx="1397890" cy="553411"/>
            </a:xfrm>
            <a:prstGeom prst="rect">
              <a:avLst/>
            </a:prstGeom>
          </p:spPr>
        </p:pic>
      </p:grpSp>
    </p:spTree>
    <p:extLst>
      <p:ext uri="{BB962C8B-B14F-4D97-AF65-F5344CB8AC3E}">
        <p14:creationId xmlns:p14="http://schemas.microsoft.com/office/powerpoint/2010/main" val="18482112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Section Header 2">
    <p:bg>
      <p:bgPr>
        <a:solidFill>
          <a:schemeClr val="accent2"/>
        </a:solidFill>
        <a:effectLst/>
      </p:bgPr>
    </p:bg>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CC20A954-010F-AA49-9AFF-0BA2B966F0F2}"/>
              </a:ext>
            </a:extLst>
          </p:cNvPr>
          <p:cNvGrpSpPr/>
          <p:nvPr userDrawn="1"/>
        </p:nvGrpSpPr>
        <p:grpSpPr>
          <a:xfrm>
            <a:off x="0" y="0"/>
            <a:ext cx="10111753" cy="6858000"/>
            <a:chOff x="20548" y="0"/>
            <a:chExt cx="10113069" cy="6858000"/>
          </a:xfrm>
        </p:grpSpPr>
        <p:sp>
          <p:nvSpPr>
            <p:cNvPr id="33" name="Parallelogram 32">
              <a:extLst>
                <a:ext uri="{FF2B5EF4-FFF2-40B4-BE49-F238E27FC236}">
                  <a16:creationId xmlns:a16="http://schemas.microsoft.com/office/drawing/2014/main" id="{94B7C9F0-E087-8549-B68F-C4C8FCB7540D}"/>
                </a:ext>
              </a:extLst>
            </p:cNvPr>
            <p:cNvSpPr/>
            <p:nvPr userDrawn="1"/>
          </p:nvSpPr>
          <p:spPr>
            <a:xfrm>
              <a:off x="6679217" y="0"/>
              <a:ext cx="3454400" cy="6858000"/>
            </a:xfrm>
            <a:prstGeom prst="parallelogram">
              <a:avLst>
                <a:gd name="adj" fmla="val 895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4" name="Freeform 33">
              <a:extLst>
                <a:ext uri="{FF2B5EF4-FFF2-40B4-BE49-F238E27FC236}">
                  <a16:creationId xmlns:a16="http://schemas.microsoft.com/office/drawing/2014/main" id="{D948ECA4-FA5A-DC41-BEAC-1A2554ADD123}"/>
                </a:ext>
              </a:extLst>
            </p:cNvPr>
            <p:cNvSpPr/>
            <p:nvPr userDrawn="1"/>
          </p:nvSpPr>
          <p:spPr>
            <a:xfrm>
              <a:off x="20548" y="0"/>
              <a:ext cx="9774153" cy="6858000"/>
            </a:xfrm>
            <a:custGeom>
              <a:avLst/>
              <a:gdLst>
                <a:gd name="connsiteX0" fmla="*/ 0 w 9774153"/>
                <a:gd name="connsiteY0" fmla="*/ 0 h 6858000"/>
                <a:gd name="connsiteX1" fmla="*/ 175545 w 9774153"/>
                <a:gd name="connsiteY1" fmla="*/ 0 h 6858000"/>
                <a:gd name="connsiteX2" fmla="*/ 9598608 w 9774153"/>
                <a:gd name="connsiteY2" fmla="*/ 0 h 6858000"/>
                <a:gd name="connsiteX3" fmla="*/ 9774153 w 9774153"/>
                <a:gd name="connsiteY3" fmla="*/ 0 h 6858000"/>
                <a:gd name="connsiteX4" fmla="*/ 6679218 w 9774153"/>
                <a:gd name="connsiteY4" fmla="*/ 6858000 h 6858000"/>
                <a:gd name="connsiteX5" fmla="*/ 6503673 w 9774153"/>
                <a:gd name="connsiteY5" fmla="*/ 6858000 h 6858000"/>
                <a:gd name="connsiteX6" fmla="*/ 175545 w 9774153"/>
                <a:gd name="connsiteY6" fmla="*/ 6858000 h 6858000"/>
                <a:gd name="connsiteX7" fmla="*/ 0 w 9774153"/>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4153" h="6858000">
                  <a:moveTo>
                    <a:pt x="0" y="0"/>
                  </a:moveTo>
                  <a:lnTo>
                    <a:pt x="175545" y="0"/>
                  </a:lnTo>
                  <a:lnTo>
                    <a:pt x="9598608" y="0"/>
                  </a:lnTo>
                  <a:lnTo>
                    <a:pt x="9774153" y="0"/>
                  </a:lnTo>
                  <a:lnTo>
                    <a:pt x="6679218" y="6858000"/>
                  </a:lnTo>
                  <a:lnTo>
                    <a:pt x="6503673" y="6858000"/>
                  </a:lnTo>
                  <a:lnTo>
                    <a:pt x="175545" y="6858000"/>
                  </a:lnTo>
                  <a:lnTo>
                    <a:pt x="0" y="6858000"/>
                  </a:lnTo>
                  <a:close/>
                </a:path>
              </a:pathLst>
            </a:custGeom>
            <a:solidFill>
              <a:srgbClr val="1F428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9" name="Rectangle 8">
            <a:extLst>
              <a:ext uri="{FF2B5EF4-FFF2-40B4-BE49-F238E27FC236}">
                <a16:creationId xmlns:a16="http://schemas.microsoft.com/office/drawing/2014/main" id="{9075ABD7-AC88-324D-81AC-6B45DDBB44C6}"/>
              </a:ext>
            </a:extLst>
          </p:cNvPr>
          <p:cNvSpPr/>
          <p:nvPr userDrawn="1"/>
        </p:nvSpPr>
        <p:spPr>
          <a:xfrm>
            <a:off x="0" y="1380222"/>
            <a:ext cx="12190413" cy="4210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52BF1972-FC50-DE4D-AE22-907B3D2C4DAD}"/>
              </a:ext>
            </a:extLst>
          </p:cNvPr>
          <p:cNvSpPr>
            <a:spLocks noGrp="1"/>
          </p:cNvSpPr>
          <p:nvPr>
            <p:ph type="title"/>
          </p:nvPr>
        </p:nvSpPr>
        <p:spPr>
          <a:xfrm>
            <a:off x="495236" y="138846"/>
            <a:ext cx="8928891" cy="2852737"/>
          </a:xfrm>
        </p:spPr>
        <p:txBody>
          <a:bodyPr anchor="b">
            <a:normAutofit/>
          </a:bodyPr>
          <a:lstStyle>
            <a:lvl1pPr>
              <a:defRPr sz="3600" b="1" i="0" u="none" cap="none" baseline="0">
                <a:solidFill>
                  <a:schemeClr val="tx1"/>
                </a:solidFill>
                <a:uFill>
                  <a:solidFill>
                    <a:schemeClr val="accent1"/>
                  </a:solidFill>
                </a:uFill>
              </a:defRPr>
            </a:lvl1pPr>
          </a:lstStyle>
          <a:p>
            <a:r>
              <a:rPr lang="en-US" dirty="0"/>
              <a:t>Click to edit Master title style</a:t>
            </a:r>
          </a:p>
        </p:txBody>
      </p:sp>
      <p:sp>
        <p:nvSpPr>
          <p:cNvPr id="3" name="Text Placeholder 2">
            <a:extLst>
              <a:ext uri="{FF2B5EF4-FFF2-40B4-BE49-F238E27FC236}">
                <a16:creationId xmlns:a16="http://schemas.microsoft.com/office/drawing/2014/main" id="{BA0DB6AB-7FF3-7B43-AE11-D083736F811B}"/>
              </a:ext>
            </a:extLst>
          </p:cNvPr>
          <p:cNvSpPr>
            <a:spLocks noGrp="1"/>
          </p:cNvSpPr>
          <p:nvPr>
            <p:ph type="body" idx="1"/>
          </p:nvPr>
        </p:nvSpPr>
        <p:spPr>
          <a:xfrm>
            <a:off x="495236" y="3227802"/>
            <a:ext cx="3994119" cy="1500187"/>
          </a:xfrm>
        </p:spPr>
        <p:txBody>
          <a:bodyPr lIns="27432">
            <a:normAutofit/>
          </a:bodyPr>
          <a:lstStyle>
            <a:lvl1pPr marL="0" indent="0">
              <a:buNone/>
              <a:defRPr sz="2000" baseline="0">
                <a:solidFill>
                  <a:schemeClr val="tx2"/>
                </a:solidFill>
              </a:defRPr>
            </a:lvl1pPr>
            <a:lvl2pPr marL="457154" indent="0">
              <a:buNone/>
              <a:defRPr sz="2000">
                <a:solidFill>
                  <a:schemeClr val="tx1">
                    <a:tint val="75000"/>
                  </a:schemeClr>
                </a:solidFill>
              </a:defRPr>
            </a:lvl2pPr>
            <a:lvl3pPr marL="914309" indent="0">
              <a:buNone/>
              <a:defRPr sz="1800">
                <a:solidFill>
                  <a:schemeClr val="tx1">
                    <a:tint val="75000"/>
                  </a:schemeClr>
                </a:solidFill>
              </a:defRPr>
            </a:lvl3pPr>
            <a:lvl4pPr marL="1371463" indent="0">
              <a:buNone/>
              <a:defRPr sz="1600">
                <a:solidFill>
                  <a:schemeClr val="tx1">
                    <a:tint val="75000"/>
                  </a:schemeClr>
                </a:solidFill>
              </a:defRPr>
            </a:lvl4pPr>
            <a:lvl5pPr marL="1828617" indent="0">
              <a:buNone/>
              <a:defRPr sz="1600">
                <a:solidFill>
                  <a:schemeClr val="tx1">
                    <a:tint val="75000"/>
                  </a:schemeClr>
                </a:solidFill>
              </a:defRPr>
            </a:lvl5pPr>
            <a:lvl6pPr marL="2285771" indent="0">
              <a:buNone/>
              <a:defRPr sz="1600">
                <a:solidFill>
                  <a:schemeClr val="tx1">
                    <a:tint val="75000"/>
                  </a:schemeClr>
                </a:solidFill>
              </a:defRPr>
            </a:lvl6pPr>
            <a:lvl7pPr marL="2742926" indent="0">
              <a:buNone/>
              <a:defRPr sz="1600">
                <a:solidFill>
                  <a:schemeClr val="tx1">
                    <a:tint val="75000"/>
                  </a:schemeClr>
                </a:solidFill>
              </a:defRPr>
            </a:lvl7pPr>
            <a:lvl8pPr marL="3200080" indent="0">
              <a:buNone/>
              <a:defRPr sz="1600">
                <a:solidFill>
                  <a:schemeClr val="tx1">
                    <a:tint val="75000"/>
                  </a:schemeClr>
                </a:solidFill>
              </a:defRPr>
            </a:lvl8pPr>
            <a:lvl9pPr marL="3657234" indent="0">
              <a:buNone/>
              <a:defRPr sz="16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E7364FE2-A2E9-EB40-B6D3-106D5067DFDE}"/>
              </a:ext>
            </a:extLst>
          </p:cNvPr>
          <p:cNvSpPr>
            <a:spLocks noGrp="1"/>
          </p:cNvSpPr>
          <p:nvPr>
            <p:ph type="dt" sz="half" idx="10"/>
          </p:nvPr>
        </p:nvSpPr>
        <p:spPr/>
        <p:txBody>
          <a:bodyPr/>
          <a:lstStyle/>
          <a:p>
            <a:fld id="{FCE513E5-06CF-744A-8DB1-7690EAF8A581}" type="datetime1">
              <a:rPr lang="en-US" smtClean="0"/>
              <a:t>6/7/2024</a:t>
            </a:fld>
            <a:endParaRPr lang="en-US" dirty="0"/>
          </a:p>
        </p:txBody>
      </p:sp>
      <p:sp>
        <p:nvSpPr>
          <p:cNvPr id="5" name="Footer Placeholder 4">
            <a:extLst>
              <a:ext uri="{FF2B5EF4-FFF2-40B4-BE49-F238E27FC236}">
                <a16:creationId xmlns:a16="http://schemas.microsoft.com/office/drawing/2014/main" id="{2E176550-E523-9544-97FD-F93FBD1E6860}"/>
              </a:ext>
            </a:extLst>
          </p:cNvPr>
          <p:cNvSpPr>
            <a:spLocks noGrp="1"/>
          </p:cNvSpPr>
          <p:nvPr>
            <p:ph type="ftr" sz="quarter" idx="11"/>
          </p:nvPr>
        </p:nvSpPr>
        <p:spPr>
          <a:xfrm>
            <a:off x="4038074" y="6356351"/>
            <a:ext cx="3519210" cy="365125"/>
          </a:xfrm>
        </p:spPr>
        <p:txBody>
          <a:bodyPr/>
          <a:lstStyle>
            <a:lvl1pPr>
              <a:defRPr b="1" i="0" baseline="0">
                <a:solidFill>
                  <a:schemeClr val="bg1"/>
                </a:solidFill>
              </a:defRPr>
            </a:lvl1pPr>
          </a:lstStyle>
          <a:p>
            <a:r>
              <a:rPr lang="en-US" dirty="0"/>
              <a:t>FOR INTERNAL USE ONLY</a:t>
            </a:r>
          </a:p>
        </p:txBody>
      </p:sp>
      <p:sp>
        <p:nvSpPr>
          <p:cNvPr id="6" name="Slide Number Placeholder 5">
            <a:extLst>
              <a:ext uri="{FF2B5EF4-FFF2-40B4-BE49-F238E27FC236}">
                <a16:creationId xmlns:a16="http://schemas.microsoft.com/office/drawing/2014/main" id="{980BA57B-D34A-7848-BBFC-D523E2CDD07E}"/>
              </a:ext>
            </a:extLst>
          </p:cNvPr>
          <p:cNvSpPr>
            <a:spLocks noGrp="1"/>
          </p:cNvSpPr>
          <p:nvPr>
            <p:ph type="sldNum" sz="quarter" idx="12"/>
          </p:nvPr>
        </p:nvSpPr>
        <p:spPr/>
        <p:txBody>
          <a:bodyPr/>
          <a:lstStyle/>
          <a:p>
            <a:fld id="{C0AFECD8-B8AF-5C4E-B306-A0438013ED66}" type="slidenum">
              <a:rPr lang="en-US" smtClean="0"/>
              <a:t>‹#›</a:t>
            </a:fld>
            <a:endParaRPr lang="en-US" dirty="0"/>
          </a:p>
        </p:txBody>
      </p:sp>
      <p:cxnSp>
        <p:nvCxnSpPr>
          <p:cNvPr id="10" name="Straight Connector 9">
            <a:extLst>
              <a:ext uri="{FF2B5EF4-FFF2-40B4-BE49-F238E27FC236}">
                <a16:creationId xmlns:a16="http://schemas.microsoft.com/office/drawing/2014/main" id="{5AC43809-A055-B74A-A1F8-7E7FC690F185}"/>
              </a:ext>
            </a:extLst>
          </p:cNvPr>
          <p:cNvCxnSpPr>
            <a:cxnSpLocks/>
          </p:cNvCxnSpPr>
          <p:nvPr userDrawn="1"/>
        </p:nvCxnSpPr>
        <p:spPr>
          <a:xfrm>
            <a:off x="485130" y="3032449"/>
            <a:ext cx="5999047"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9B8BD7F-7022-664C-BF5F-505F31CB5608}"/>
              </a:ext>
            </a:extLst>
          </p:cNvPr>
          <p:cNvPicPr>
            <a:picLocks noChangeAspect="1"/>
          </p:cNvPicPr>
          <p:nvPr userDrawn="1"/>
        </p:nvPicPr>
        <p:blipFill>
          <a:blip r:embed="rId2"/>
          <a:srcRect/>
          <a:stretch/>
        </p:blipFill>
        <p:spPr>
          <a:xfrm>
            <a:off x="9340138" y="3753853"/>
            <a:ext cx="2539969" cy="1724964"/>
          </a:xfrm>
          <a:prstGeom prst="rect">
            <a:avLst/>
          </a:prstGeom>
        </p:spPr>
      </p:pic>
      <p:grpSp>
        <p:nvGrpSpPr>
          <p:cNvPr id="29" name="Group 28">
            <a:extLst>
              <a:ext uri="{FF2B5EF4-FFF2-40B4-BE49-F238E27FC236}">
                <a16:creationId xmlns:a16="http://schemas.microsoft.com/office/drawing/2014/main" id="{34313769-8D7C-6C4D-AF51-33D8D191E790}"/>
              </a:ext>
            </a:extLst>
          </p:cNvPr>
          <p:cNvGrpSpPr/>
          <p:nvPr userDrawn="1"/>
        </p:nvGrpSpPr>
        <p:grpSpPr>
          <a:xfrm>
            <a:off x="10045517" y="231452"/>
            <a:ext cx="1930338" cy="549371"/>
            <a:chOff x="8736118" y="1637730"/>
            <a:chExt cx="2478142" cy="705184"/>
          </a:xfrm>
        </p:grpSpPr>
        <p:pic>
          <p:nvPicPr>
            <p:cNvPr id="30" name="Picture 29">
              <a:extLst>
                <a:ext uri="{FF2B5EF4-FFF2-40B4-BE49-F238E27FC236}">
                  <a16:creationId xmlns:a16="http://schemas.microsoft.com/office/drawing/2014/main" id="{740C6905-2338-444D-A9F3-8B745C46B31D}"/>
                </a:ext>
              </a:extLst>
            </p:cNvPr>
            <p:cNvPicPr>
              <a:picLocks noChangeAspect="1"/>
            </p:cNvPicPr>
            <p:nvPr userDrawn="1"/>
          </p:nvPicPr>
          <p:blipFill>
            <a:blip r:embed="rId3"/>
            <a:stretch>
              <a:fillRect/>
            </a:stretch>
          </p:blipFill>
          <p:spPr>
            <a:xfrm>
              <a:off x="10509076" y="1637730"/>
              <a:ext cx="705184" cy="705184"/>
            </a:xfrm>
            <a:prstGeom prst="rect">
              <a:avLst/>
            </a:prstGeom>
          </p:spPr>
        </p:pic>
        <p:pic>
          <p:nvPicPr>
            <p:cNvPr id="31" name="Picture 30">
              <a:extLst>
                <a:ext uri="{FF2B5EF4-FFF2-40B4-BE49-F238E27FC236}">
                  <a16:creationId xmlns:a16="http://schemas.microsoft.com/office/drawing/2014/main" id="{F658469E-98E2-7143-BD5B-A35784490C6B}"/>
                </a:ext>
              </a:extLst>
            </p:cNvPr>
            <p:cNvPicPr>
              <a:picLocks noChangeAspect="1"/>
            </p:cNvPicPr>
            <p:nvPr userDrawn="1"/>
          </p:nvPicPr>
          <p:blipFill>
            <a:blip r:embed="rId4"/>
            <a:stretch>
              <a:fillRect/>
            </a:stretch>
          </p:blipFill>
          <p:spPr>
            <a:xfrm>
              <a:off x="8736118" y="1728542"/>
              <a:ext cx="1397890" cy="553411"/>
            </a:xfrm>
            <a:prstGeom prst="rect">
              <a:avLst/>
            </a:prstGeom>
          </p:spPr>
        </p:pic>
      </p:grpSp>
    </p:spTree>
    <p:extLst>
      <p:ext uri="{BB962C8B-B14F-4D97-AF65-F5344CB8AC3E}">
        <p14:creationId xmlns:p14="http://schemas.microsoft.com/office/powerpoint/2010/main" val="13293083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e 1">
    <p:bg>
      <p:bgPr>
        <a:solidFill>
          <a:schemeClr val="accent2"/>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78B45E58-B0F4-5E47-8F67-D17C2662770E}"/>
              </a:ext>
            </a:extLst>
          </p:cNvPr>
          <p:cNvGrpSpPr/>
          <p:nvPr userDrawn="1"/>
        </p:nvGrpSpPr>
        <p:grpSpPr>
          <a:xfrm>
            <a:off x="0" y="0"/>
            <a:ext cx="10111753" cy="6858000"/>
            <a:chOff x="20548" y="0"/>
            <a:chExt cx="10113069" cy="6858000"/>
          </a:xfrm>
        </p:grpSpPr>
        <p:sp>
          <p:nvSpPr>
            <p:cNvPr id="31" name="Parallelogram 30">
              <a:extLst>
                <a:ext uri="{FF2B5EF4-FFF2-40B4-BE49-F238E27FC236}">
                  <a16:creationId xmlns:a16="http://schemas.microsoft.com/office/drawing/2014/main" id="{6CE1899E-BD87-3449-9C88-BE99D6EA4C97}"/>
                </a:ext>
              </a:extLst>
            </p:cNvPr>
            <p:cNvSpPr/>
            <p:nvPr userDrawn="1"/>
          </p:nvSpPr>
          <p:spPr>
            <a:xfrm>
              <a:off x="6679217" y="0"/>
              <a:ext cx="3454400" cy="6858000"/>
            </a:xfrm>
            <a:prstGeom prst="parallelogram">
              <a:avLst>
                <a:gd name="adj" fmla="val 895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2" name="Freeform 31">
              <a:extLst>
                <a:ext uri="{FF2B5EF4-FFF2-40B4-BE49-F238E27FC236}">
                  <a16:creationId xmlns:a16="http://schemas.microsoft.com/office/drawing/2014/main" id="{AE1F52C2-F043-7D45-8779-3B2BD400235B}"/>
                </a:ext>
              </a:extLst>
            </p:cNvPr>
            <p:cNvSpPr/>
            <p:nvPr userDrawn="1"/>
          </p:nvSpPr>
          <p:spPr>
            <a:xfrm>
              <a:off x="20548" y="0"/>
              <a:ext cx="9774153" cy="6858000"/>
            </a:xfrm>
            <a:custGeom>
              <a:avLst/>
              <a:gdLst>
                <a:gd name="connsiteX0" fmla="*/ 0 w 9774153"/>
                <a:gd name="connsiteY0" fmla="*/ 0 h 6858000"/>
                <a:gd name="connsiteX1" fmla="*/ 175545 w 9774153"/>
                <a:gd name="connsiteY1" fmla="*/ 0 h 6858000"/>
                <a:gd name="connsiteX2" fmla="*/ 9598608 w 9774153"/>
                <a:gd name="connsiteY2" fmla="*/ 0 h 6858000"/>
                <a:gd name="connsiteX3" fmla="*/ 9774153 w 9774153"/>
                <a:gd name="connsiteY3" fmla="*/ 0 h 6858000"/>
                <a:gd name="connsiteX4" fmla="*/ 6679218 w 9774153"/>
                <a:gd name="connsiteY4" fmla="*/ 6858000 h 6858000"/>
                <a:gd name="connsiteX5" fmla="*/ 6503673 w 9774153"/>
                <a:gd name="connsiteY5" fmla="*/ 6858000 h 6858000"/>
                <a:gd name="connsiteX6" fmla="*/ 175545 w 9774153"/>
                <a:gd name="connsiteY6" fmla="*/ 6858000 h 6858000"/>
                <a:gd name="connsiteX7" fmla="*/ 0 w 9774153"/>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4153" h="6858000">
                  <a:moveTo>
                    <a:pt x="0" y="0"/>
                  </a:moveTo>
                  <a:lnTo>
                    <a:pt x="175545" y="0"/>
                  </a:lnTo>
                  <a:lnTo>
                    <a:pt x="9598608" y="0"/>
                  </a:lnTo>
                  <a:lnTo>
                    <a:pt x="9774153" y="0"/>
                  </a:lnTo>
                  <a:lnTo>
                    <a:pt x="6679218" y="6858000"/>
                  </a:lnTo>
                  <a:lnTo>
                    <a:pt x="6503673" y="6858000"/>
                  </a:lnTo>
                  <a:lnTo>
                    <a:pt x="175545" y="6858000"/>
                  </a:lnTo>
                  <a:lnTo>
                    <a:pt x="0" y="6858000"/>
                  </a:lnTo>
                  <a:close/>
                </a:path>
              </a:pathLst>
            </a:custGeom>
            <a:solidFill>
              <a:srgbClr val="1F428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22" name="Rectangle 21">
            <a:extLst>
              <a:ext uri="{FF2B5EF4-FFF2-40B4-BE49-F238E27FC236}">
                <a16:creationId xmlns:a16="http://schemas.microsoft.com/office/drawing/2014/main" id="{AABFBFA5-5B77-6440-BD16-D378B6056988}"/>
              </a:ext>
            </a:extLst>
          </p:cNvPr>
          <p:cNvSpPr/>
          <p:nvPr userDrawn="1"/>
        </p:nvSpPr>
        <p:spPr>
          <a:xfrm>
            <a:off x="0" y="3509964"/>
            <a:ext cx="12190413" cy="3348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6FC5B6C0-649B-F34D-9E2D-93A14AB7DD75}"/>
              </a:ext>
            </a:extLst>
          </p:cNvPr>
          <p:cNvSpPr>
            <a:spLocks noGrp="1"/>
          </p:cNvSpPr>
          <p:nvPr>
            <p:ph type="ctrTitle" hasCustomPrompt="1"/>
          </p:nvPr>
        </p:nvSpPr>
        <p:spPr>
          <a:xfrm>
            <a:off x="495236" y="1122363"/>
            <a:ext cx="8242109" cy="2387600"/>
          </a:xfrm>
        </p:spPr>
        <p:txBody>
          <a:bodyPr anchor="b"/>
          <a:lstStyle>
            <a:lvl1pPr algn="l">
              <a:defRPr sz="4000" baseline="0"/>
            </a:lvl1pPr>
          </a:lstStyle>
          <a:p>
            <a:r>
              <a:rPr lang="en-US" dirty="0"/>
              <a:t>Click to edit </a:t>
            </a:r>
            <a:br>
              <a:rPr lang="en-US" dirty="0"/>
            </a:br>
            <a:r>
              <a:rPr lang="en-US" dirty="0"/>
              <a:t>Master title style</a:t>
            </a:r>
          </a:p>
        </p:txBody>
      </p:sp>
      <p:sp>
        <p:nvSpPr>
          <p:cNvPr id="3" name="Subtitle 2">
            <a:extLst>
              <a:ext uri="{FF2B5EF4-FFF2-40B4-BE49-F238E27FC236}">
                <a16:creationId xmlns:a16="http://schemas.microsoft.com/office/drawing/2014/main" id="{906DEC47-4B15-AF45-87E9-F97131FB157A}"/>
              </a:ext>
            </a:extLst>
          </p:cNvPr>
          <p:cNvSpPr>
            <a:spLocks noGrp="1"/>
          </p:cNvSpPr>
          <p:nvPr>
            <p:ph type="subTitle" idx="1"/>
          </p:nvPr>
        </p:nvSpPr>
        <p:spPr>
          <a:xfrm>
            <a:off x="495236" y="3602038"/>
            <a:ext cx="8242109" cy="1655762"/>
          </a:xfrm>
        </p:spPr>
        <p:txBody>
          <a:bodyPr/>
          <a:lstStyle>
            <a:lvl1pPr marL="0" indent="0" algn="l">
              <a:spcBef>
                <a:spcPts val="600"/>
              </a:spcBef>
              <a:buNone/>
              <a:defRPr sz="2400" u="none" baseline="0">
                <a:solidFill>
                  <a:schemeClr val="tx2"/>
                </a:solidFill>
                <a:uFill>
                  <a:solidFill>
                    <a:schemeClr val="accent1"/>
                  </a:solidFill>
                </a:u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dirty="0"/>
              <a:t>Click to edit Master subtitle style</a:t>
            </a:r>
          </a:p>
        </p:txBody>
      </p:sp>
      <p:sp>
        <p:nvSpPr>
          <p:cNvPr id="7" name="Date Placeholder 6">
            <a:extLst>
              <a:ext uri="{FF2B5EF4-FFF2-40B4-BE49-F238E27FC236}">
                <a16:creationId xmlns:a16="http://schemas.microsoft.com/office/drawing/2014/main" id="{7002A96B-DA9D-C149-9E23-E0AF281C637A}"/>
              </a:ext>
            </a:extLst>
          </p:cNvPr>
          <p:cNvSpPr>
            <a:spLocks noGrp="1"/>
          </p:cNvSpPr>
          <p:nvPr>
            <p:ph type="dt" sz="half" idx="10"/>
          </p:nvPr>
        </p:nvSpPr>
        <p:spPr/>
        <p:txBody>
          <a:bodyPr/>
          <a:lstStyle/>
          <a:p>
            <a:fld id="{4B80A55A-85AF-6545-BD76-D7C328BDD00F}" type="datetime1">
              <a:rPr lang="en-US" smtClean="0"/>
              <a:t>6/7/2024</a:t>
            </a:fld>
            <a:endParaRPr lang="en-US" dirty="0"/>
          </a:p>
        </p:txBody>
      </p:sp>
      <p:sp>
        <p:nvSpPr>
          <p:cNvPr id="10" name="Footer Placeholder 9">
            <a:extLst>
              <a:ext uri="{FF2B5EF4-FFF2-40B4-BE49-F238E27FC236}">
                <a16:creationId xmlns:a16="http://schemas.microsoft.com/office/drawing/2014/main" id="{A0914D26-55BA-8148-926C-D74E05FD6E64}"/>
              </a:ext>
            </a:extLst>
          </p:cNvPr>
          <p:cNvSpPr>
            <a:spLocks noGrp="1"/>
          </p:cNvSpPr>
          <p:nvPr>
            <p:ph type="ftr" sz="quarter" idx="11"/>
          </p:nvPr>
        </p:nvSpPr>
        <p:spPr>
          <a:xfrm>
            <a:off x="4038075" y="6356351"/>
            <a:ext cx="4114264" cy="365125"/>
          </a:xfrm>
        </p:spPr>
        <p:txBody>
          <a:bodyPr/>
          <a:lstStyle/>
          <a:p>
            <a:r>
              <a:rPr lang="en-US"/>
              <a:t>FOR INTERNAL USE ONLY</a:t>
            </a:r>
            <a:endParaRPr lang="en-US" dirty="0"/>
          </a:p>
        </p:txBody>
      </p:sp>
      <p:sp>
        <p:nvSpPr>
          <p:cNvPr id="11" name="Slide Number Placeholder 10">
            <a:extLst>
              <a:ext uri="{FF2B5EF4-FFF2-40B4-BE49-F238E27FC236}">
                <a16:creationId xmlns:a16="http://schemas.microsoft.com/office/drawing/2014/main" id="{8F856791-5DB4-F341-814C-82C3EEFCE25E}"/>
              </a:ext>
            </a:extLst>
          </p:cNvPr>
          <p:cNvSpPr>
            <a:spLocks noGrp="1"/>
          </p:cNvSpPr>
          <p:nvPr>
            <p:ph type="sldNum" sz="quarter" idx="12"/>
          </p:nvPr>
        </p:nvSpPr>
        <p:spPr/>
        <p:txBody>
          <a:bodyPr/>
          <a:lstStyle/>
          <a:p>
            <a:fld id="{C0AFECD8-B8AF-5C4E-B306-A0438013ED66}" type="slidenum">
              <a:rPr lang="en-US" smtClean="0"/>
              <a:t>‹#›</a:t>
            </a:fld>
            <a:endParaRPr lang="en-US" dirty="0"/>
          </a:p>
        </p:txBody>
      </p:sp>
      <p:pic>
        <p:nvPicPr>
          <p:cNvPr id="14" name="Picture 13">
            <a:extLst>
              <a:ext uri="{FF2B5EF4-FFF2-40B4-BE49-F238E27FC236}">
                <a16:creationId xmlns:a16="http://schemas.microsoft.com/office/drawing/2014/main" id="{5059E918-0022-944B-9297-9E561DBC0977}"/>
              </a:ext>
            </a:extLst>
          </p:cNvPr>
          <p:cNvPicPr>
            <a:picLocks noChangeAspect="1"/>
          </p:cNvPicPr>
          <p:nvPr userDrawn="1"/>
        </p:nvPicPr>
        <p:blipFill>
          <a:blip r:embed="rId2"/>
          <a:srcRect/>
          <a:stretch/>
        </p:blipFill>
        <p:spPr>
          <a:xfrm>
            <a:off x="8837200" y="4341806"/>
            <a:ext cx="3189959" cy="2166390"/>
          </a:xfrm>
          <a:prstGeom prst="rect">
            <a:avLst/>
          </a:prstGeom>
        </p:spPr>
      </p:pic>
      <p:grpSp>
        <p:nvGrpSpPr>
          <p:cNvPr id="27" name="Group 26">
            <a:extLst>
              <a:ext uri="{FF2B5EF4-FFF2-40B4-BE49-F238E27FC236}">
                <a16:creationId xmlns:a16="http://schemas.microsoft.com/office/drawing/2014/main" id="{2CC578F8-558A-BB4D-806E-DDE2C49964FC}"/>
              </a:ext>
            </a:extLst>
          </p:cNvPr>
          <p:cNvGrpSpPr/>
          <p:nvPr userDrawn="1"/>
        </p:nvGrpSpPr>
        <p:grpSpPr>
          <a:xfrm>
            <a:off x="10045517" y="231452"/>
            <a:ext cx="1930338" cy="549371"/>
            <a:chOff x="8736118" y="1637730"/>
            <a:chExt cx="2478142" cy="705184"/>
          </a:xfrm>
        </p:grpSpPr>
        <p:pic>
          <p:nvPicPr>
            <p:cNvPr id="28" name="Picture 27">
              <a:extLst>
                <a:ext uri="{FF2B5EF4-FFF2-40B4-BE49-F238E27FC236}">
                  <a16:creationId xmlns:a16="http://schemas.microsoft.com/office/drawing/2014/main" id="{A6000D75-49A0-E449-B6E5-1A76FF350E94}"/>
                </a:ext>
              </a:extLst>
            </p:cNvPr>
            <p:cNvPicPr>
              <a:picLocks noChangeAspect="1"/>
            </p:cNvPicPr>
            <p:nvPr userDrawn="1"/>
          </p:nvPicPr>
          <p:blipFill>
            <a:blip r:embed="rId3"/>
            <a:stretch>
              <a:fillRect/>
            </a:stretch>
          </p:blipFill>
          <p:spPr>
            <a:xfrm>
              <a:off x="10509076" y="1637730"/>
              <a:ext cx="705184" cy="705184"/>
            </a:xfrm>
            <a:prstGeom prst="rect">
              <a:avLst/>
            </a:prstGeom>
          </p:spPr>
        </p:pic>
        <p:pic>
          <p:nvPicPr>
            <p:cNvPr id="29" name="Picture 28">
              <a:extLst>
                <a:ext uri="{FF2B5EF4-FFF2-40B4-BE49-F238E27FC236}">
                  <a16:creationId xmlns:a16="http://schemas.microsoft.com/office/drawing/2014/main" id="{47EFAEF2-A745-0E4B-9716-D433B3EF8B4C}"/>
                </a:ext>
              </a:extLst>
            </p:cNvPr>
            <p:cNvPicPr>
              <a:picLocks noChangeAspect="1"/>
            </p:cNvPicPr>
            <p:nvPr userDrawn="1"/>
          </p:nvPicPr>
          <p:blipFill>
            <a:blip r:embed="rId4"/>
            <a:stretch>
              <a:fillRect/>
            </a:stretch>
          </p:blipFill>
          <p:spPr>
            <a:xfrm>
              <a:off x="8736118" y="1728542"/>
              <a:ext cx="1397890" cy="553411"/>
            </a:xfrm>
            <a:prstGeom prst="rect">
              <a:avLst/>
            </a:prstGeom>
          </p:spPr>
        </p:pic>
      </p:grpSp>
    </p:spTree>
    <p:extLst>
      <p:ext uri="{BB962C8B-B14F-4D97-AF65-F5344CB8AC3E}">
        <p14:creationId xmlns:p14="http://schemas.microsoft.com/office/powerpoint/2010/main" val="26759622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Bumper Slide">
    <p:bg>
      <p:bgPr>
        <a:solidFill>
          <a:schemeClr val="accent2"/>
        </a:solidFill>
        <a:effectLst/>
      </p:bgPr>
    </p:bg>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6EDE9CCF-D32F-AA4F-A6BA-FEAC7DA2297C}"/>
              </a:ext>
            </a:extLst>
          </p:cNvPr>
          <p:cNvGrpSpPr/>
          <p:nvPr userDrawn="1"/>
        </p:nvGrpSpPr>
        <p:grpSpPr>
          <a:xfrm>
            <a:off x="0" y="0"/>
            <a:ext cx="7811409" cy="6858000"/>
            <a:chOff x="29765" y="0"/>
            <a:chExt cx="7812426" cy="6858000"/>
          </a:xfrm>
        </p:grpSpPr>
        <p:sp>
          <p:nvSpPr>
            <p:cNvPr id="29" name="Parallelogram 28">
              <a:extLst>
                <a:ext uri="{FF2B5EF4-FFF2-40B4-BE49-F238E27FC236}">
                  <a16:creationId xmlns:a16="http://schemas.microsoft.com/office/drawing/2014/main" id="{928C4630-B298-204A-AD43-222B4811DA97}"/>
                </a:ext>
              </a:extLst>
            </p:cNvPr>
            <p:cNvSpPr/>
            <p:nvPr userDrawn="1"/>
          </p:nvSpPr>
          <p:spPr>
            <a:xfrm>
              <a:off x="4387791" y="0"/>
              <a:ext cx="3454400" cy="6858000"/>
            </a:xfrm>
            <a:prstGeom prst="parallelogram">
              <a:avLst>
                <a:gd name="adj" fmla="val 895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8" name="Freeform 27">
              <a:extLst>
                <a:ext uri="{FF2B5EF4-FFF2-40B4-BE49-F238E27FC236}">
                  <a16:creationId xmlns:a16="http://schemas.microsoft.com/office/drawing/2014/main" id="{EAC653CE-03F0-5A43-9D35-659009E07DE7}"/>
                </a:ext>
              </a:extLst>
            </p:cNvPr>
            <p:cNvSpPr/>
            <p:nvPr userDrawn="1"/>
          </p:nvSpPr>
          <p:spPr>
            <a:xfrm>
              <a:off x="29765" y="0"/>
              <a:ext cx="7495273" cy="6858000"/>
            </a:xfrm>
            <a:custGeom>
              <a:avLst/>
              <a:gdLst>
                <a:gd name="connsiteX0" fmla="*/ 0 w 7495273"/>
                <a:gd name="connsiteY0" fmla="*/ 0 h 6858000"/>
                <a:gd name="connsiteX1" fmla="*/ 7495273 w 7495273"/>
                <a:gd name="connsiteY1" fmla="*/ 0 h 6858000"/>
                <a:gd name="connsiteX2" fmla="*/ 4400338 w 7495273"/>
                <a:gd name="connsiteY2" fmla="*/ 6858000 h 6858000"/>
                <a:gd name="connsiteX3" fmla="*/ 0 w 749527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495273" h="6858000">
                  <a:moveTo>
                    <a:pt x="0" y="0"/>
                  </a:moveTo>
                  <a:lnTo>
                    <a:pt x="7495273" y="0"/>
                  </a:lnTo>
                  <a:lnTo>
                    <a:pt x="4400338" y="6858000"/>
                  </a:lnTo>
                  <a:lnTo>
                    <a:pt x="0" y="6858000"/>
                  </a:lnTo>
                  <a:close/>
                </a:path>
              </a:pathLst>
            </a:custGeom>
            <a:solidFill>
              <a:srgbClr val="1F4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1" name="Rectangle 20">
            <a:extLst>
              <a:ext uri="{FF2B5EF4-FFF2-40B4-BE49-F238E27FC236}">
                <a16:creationId xmlns:a16="http://schemas.microsoft.com/office/drawing/2014/main" id="{0A2C82AC-9FB2-8D42-9E9A-1EC8648F1151}"/>
              </a:ext>
            </a:extLst>
          </p:cNvPr>
          <p:cNvSpPr/>
          <p:nvPr userDrawn="1"/>
        </p:nvSpPr>
        <p:spPr>
          <a:xfrm>
            <a:off x="0" y="1380222"/>
            <a:ext cx="12190413" cy="4210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6FC5B6C0-649B-F34D-9E2D-93A14AB7DD75}"/>
              </a:ext>
            </a:extLst>
          </p:cNvPr>
          <p:cNvSpPr>
            <a:spLocks noGrp="1"/>
          </p:cNvSpPr>
          <p:nvPr>
            <p:ph type="ctrTitle" hasCustomPrompt="1"/>
          </p:nvPr>
        </p:nvSpPr>
        <p:spPr>
          <a:xfrm>
            <a:off x="495235" y="1122363"/>
            <a:ext cx="5626472" cy="2387600"/>
          </a:xfrm>
        </p:spPr>
        <p:txBody>
          <a:bodyPr anchor="b"/>
          <a:lstStyle>
            <a:lvl1pPr algn="l">
              <a:defRPr sz="4000" baseline="0">
                <a:solidFill>
                  <a:schemeClr val="tx1"/>
                </a:solidFill>
              </a:defRPr>
            </a:lvl1pPr>
          </a:lstStyle>
          <a:p>
            <a:r>
              <a:rPr lang="en-US" dirty="0"/>
              <a:t>BUMPER SLIDE</a:t>
            </a:r>
          </a:p>
        </p:txBody>
      </p:sp>
      <p:sp>
        <p:nvSpPr>
          <p:cNvPr id="3" name="Subtitle 2">
            <a:extLst>
              <a:ext uri="{FF2B5EF4-FFF2-40B4-BE49-F238E27FC236}">
                <a16:creationId xmlns:a16="http://schemas.microsoft.com/office/drawing/2014/main" id="{906DEC47-4B15-AF45-87E9-F97131FB157A}"/>
              </a:ext>
            </a:extLst>
          </p:cNvPr>
          <p:cNvSpPr>
            <a:spLocks noGrp="1"/>
          </p:cNvSpPr>
          <p:nvPr>
            <p:ph type="subTitle" idx="1"/>
          </p:nvPr>
        </p:nvSpPr>
        <p:spPr>
          <a:xfrm>
            <a:off x="495236" y="3602038"/>
            <a:ext cx="4529334" cy="1655762"/>
          </a:xfrm>
        </p:spPr>
        <p:txBody>
          <a:bodyPr/>
          <a:lstStyle>
            <a:lvl1pPr marL="0" indent="0" algn="l">
              <a:spcBef>
                <a:spcPts val="600"/>
              </a:spcBef>
              <a:buNone/>
              <a:defRPr sz="2400" u="none" baseline="0">
                <a:solidFill>
                  <a:schemeClr val="tx2"/>
                </a:solidFill>
                <a:uFill>
                  <a:solidFill>
                    <a:schemeClr val="accent1"/>
                  </a:solidFill>
                </a:u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dirty="0"/>
              <a:t>Click to edit Master subtitle style</a:t>
            </a:r>
          </a:p>
        </p:txBody>
      </p:sp>
      <p:sp>
        <p:nvSpPr>
          <p:cNvPr id="8" name="Date Placeholder 7">
            <a:extLst>
              <a:ext uri="{FF2B5EF4-FFF2-40B4-BE49-F238E27FC236}">
                <a16:creationId xmlns:a16="http://schemas.microsoft.com/office/drawing/2014/main" id="{44BD9C38-583A-254C-A1AE-F2952A4A8355}"/>
              </a:ext>
            </a:extLst>
          </p:cNvPr>
          <p:cNvSpPr>
            <a:spLocks noGrp="1"/>
          </p:cNvSpPr>
          <p:nvPr>
            <p:ph type="dt" sz="half" idx="10"/>
          </p:nvPr>
        </p:nvSpPr>
        <p:spPr/>
        <p:txBody>
          <a:bodyPr/>
          <a:lstStyle>
            <a:lvl1pPr>
              <a:defRPr>
                <a:solidFill>
                  <a:schemeClr val="tx2"/>
                </a:solidFill>
              </a:defRPr>
            </a:lvl1pPr>
          </a:lstStyle>
          <a:p>
            <a:fld id="{89D4D713-D536-2047-A851-1E7DDB9F45CA}" type="datetime1">
              <a:rPr lang="en-US" smtClean="0"/>
              <a:pPr/>
              <a:t>6/7/2024</a:t>
            </a:fld>
            <a:endParaRPr lang="en-US" dirty="0"/>
          </a:p>
        </p:txBody>
      </p:sp>
      <p:sp>
        <p:nvSpPr>
          <p:cNvPr id="11" name="Footer Placeholder 10">
            <a:extLst>
              <a:ext uri="{FF2B5EF4-FFF2-40B4-BE49-F238E27FC236}">
                <a16:creationId xmlns:a16="http://schemas.microsoft.com/office/drawing/2014/main" id="{7C17A973-3111-B646-BA04-00E41F5BE8D8}"/>
              </a:ext>
            </a:extLst>
          </p:cNvPr>
          <p:cNvSpPr>
            <a:spLocks noGrp="1"/>
          </p:cNvSpPr>
          <p:nvPr>
            <p:ph type="ftr" sz="quarter" idx="11"/>
          </p:nvPr>
        </p:nvSpPr>
        <p:spPr>
          <a:xfrm>
            <a:off x="4038075" y="6356351"/>
            <a:ext cx="4114264" cy="365125"/>
          </a:xfrm>
        </p:spPr>
        <p:txBody>
          <a:bodyPr/>
          <a:lstStyle>
            <a:lvl1pPr>
              <a:defRPr>
                <a:solidFill>
                  <a:schemeClr val="bg1"/>
                </a:solidFill>
              </a:defRPr>
            </a:lvl1pPr>
          </a:lstStyle>
          <a:p>
            <a:r>
              <a:rPr lang="en-US"/>
              <a:t>FOR INTERNAL USE ONLY</a:t>
            </a:r>
            <a:endParaRPr lang="en-US" dirty="0"/>
          </a:p>
        </p:txBody>
      </p:sp>
      <p:sp>
        <p:nvSpPr>
          <p:cNvPr id="12" name="Slide Number Placeholder 11">
            <a:extLst>
              <a:ext uri="{FF2B5EF4-FFF2-40B4-BE49-F238E27FC236}">
                <a16:creationId xmlns:a16="http://schemas.microsoft.com/office/drawing/2014/main" id="{D04567E9-9CA0-FB4E-AD11-DE2319884C5A}"/>
              </a:ext>
            </a:extLst>
          </p:cNvPr>
          <p:cNvSpPr>
            <a:spLocks noGrp="1"/>
          </p:cNvSpPr>
          <p:nvPr>
            <p:ph type="sldNum" sz="quarter" idx="12"/>
          </p:nvPr>
        </p:nvSpPr>
        <p:spPr/>
        <p:txBody>
          <a:bodyPr/>
          <a:lstStyle/>
          <a:p>
            <a:fld id="{C0AFECD8-B8AF-5C4E-B306-A0438013ED66}" type="slidenum">
              <a:rPr lang="en-US" smtClean="0"/>
              <a:pPr/>
              <a:t>‹#›</a:t>
            </a:fld>
            <a:endParaRPr lang="en-US" dirty="0"/>
          </a:p>
        </p:txBody>
      </p:sp>
      <p:pic>
        <p:nvPicPr>
          <p:cNvPr id="13" name="Picture 12">
            <a:extLst>
              <a:ext uri="{FF2B5EF4-FFF2-40B4-BE49-F238E27FC236}">
                <a16:creationId xmlns:a16="http://schemas.microsoft.com/office/drawing/2014/main" id="{8BCA78D6-6342-E346-B48F-A89B2AF0C6BE}"/>
              </a:ext>
            </a:extLst>
          </p:cNvPr>
          <p:cNvPicPr>
            <a:picLocks noChangeAspect="1"/>
          </p:cNvPicPr>
          <p:nvPr userDrawn="1"/>
        </p:nvPicPr>
        <p:blipFill>
          <a:blip r:embed="rId2"/>
          <a:srcRect/>
          <a:stretch/>
        </p:blipFill>
        <p:spPr>
          <a:xfrm>
            <a:off x="9340138" y="3753853"/>
            <a:ext cx="2539969" cy="1724964"/>
          </a:xfrm>
          <a:prstGeom prst="rect">
            <a:avLst/>
          </a:prstGeom>
        </p:spPr>
      </p:pic>
      <p:grpSp>
        <p:nvGrpSpPr>
          <p:cNvPr id="20" name="Group 19">
            <a:extLst>
              <a:ext uri="{FF2B5EF4-FFF2-40B4-BE49-F238E27FC236}">
                <a16:creationId xmlns:a16="http://schemas.microsoft.com/office/drawing/2014/main" id="{FB9693E7-8840-2943-AB86-606DD99E04D3}"/>
              </a:ext>
            </a:extLst>
          </p:cNvPr>
          <p:cNvGrpSpPr/>
          <p:nvPr userDrawn="1"/>
        </p:nvGrpSpPr>
        <p:grpSpPr>
          <a:xfrm>
            <a:off x="10045517" y="231452"/>
            <a:ext cx="1930338" cy="549371"/>
            <a:chOff x="8736118" y="1637730"/>
            <a:chExt cx="2478142" cy="705184"/>
          </a:xfrm>
        </p:grpSpPr>
        <p:pic>
          <p:nvPicPr>
            <p:cNvPr id="22" name="Picture 21">
              <a:extLst>
                <a:ext uri="{FF2B5EF4-FFF2-40B4-BE49-F238E27FC236}">
                  <a16:creationId xmlns:a16="http://schemas.microsoft.com/office/drawing/2014/main" id="{0FB7BFE1-406F-0D4D-8C7B-417CF911E800}"/>
                </a:ext>
              </a:extLst>
            </p:cNvPr>
            <p:cNvPicPr>
              <a:picLocks noChangeAspect="1"/>
            </p:cNvPicPr>
            <p:nvPr userDrawn="1"/>
          </p:nvPicPr>
          <p:blipFill>
            <a:blip r:embed="rId3"/>
            <a:stretch>
              <a:fillRect/>
            </a:stretch>
          </p:blipFill>
          <p:spPr>
            <a:xfrm>
              <a:off x="10509076" y="1637730"/>
              <a:ext cx="705184" cy="705184"/>
            </a:xfrm>
            <a:prstGeom prst="rect">
              <a:avLst/>
            </a:prstGeom>
          </p:spPr>
        </p:pic>
        <p:pic>
          <p:nvPicPr>
            <p:cNvPr id="23" name="Picture 22">
              <a:extLst>
                <a:ext uri="{FF2B5EF4-FFF2-40B4-BE49-F238E27FC236}">
                  <a16:creationId xmlns:a16="http://schemas.microsoft.com/office/drawing/2014/main" id="{D48C2347-AB8F-9D42-BC02-634607452EDC}"/>
                </a:ext>
              </a:extLst>
            </p:cNvPr>
            <p:cNvPicPr>
              <a:picLocks noChangeAspect="1"/>
            </p:cNvPicPr>
            <p:nvPr userDrawn="1"/>
          </p:nvPicPr>
          <p:blipFill>
            <a:blip r:embed="rId4"/>
            <a:stretch>
              <a:fillRect/>
            </a:stretch>
          </p:blipFill>
          <p:spPr>
            <a:xfrm>
              <a:off x="8736118" y="1728542"/>
              <a:ext cx="1397890" cy="553411"/>
            </a:xfrm>
            <a:prstGeom prst="rect">
              <a:avLst/>
            </a:prstGeom>
          </p:spPr>
        </p:pic>
      </p:grpSp>
    </p:spTree>
    <p:extLst>
      <p:ext uri="{BB962C8B-B14F-4D97-AF65-F5344CB8AC3E}">
        <p14:creationId xmlns:p14="http://schemas.microsoft.com/office/powerpoint/2010/main" val="34617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BF71A2E-1D04-F441-844E-0C2009443253}"/>
              </a:ext>
            </a:extLst>
          </p:cNvPr>
          <p:cNvSpPr>
            <a:spLocks noGrp="1"/>
          </p:cNvSpPr>
          <p:nvPr>
            <p:ph idx="1"/>
          </p:nvPr>
        </p:nvSpPr>
        <p:spPr>
          <a:xfrm>
            <a:off x="495236" y="1825625"/>
            <a:ext cx="9482353" cy="4351338"/>
          </a:xfrm>
        </p:spPr>
        <p:txBody>
          <a:bodyPr/>
          <a:lstStyle>
            <a:lvl2pPr>
              <a:defRPr>
                <a:solidFill>
                  <a:schemeClr val="tx2"/>
                </a:solidFill>
              </a:defRPr>
            </a:lvl2pPr>
            <a:lvl3pPr>
              <a:defRPr>
                <a:solidFill>
                  <a:schemeClr val="tx2"/>
                </a:solidFill>
              </a:defRPr>
            </a:lvl3pPr>
            <a:lvl4pPr>
              <a:defRPr sz="1800">
                <a:solidFill>
                  <a:schemeClr val="tx2"/>
                </a:solidFill>
              </a:defRPr>
            </a:lvl4pPr>
            <a:lvl5pPr>
              <a:defRPr sz="1600">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a:extLst>
              <a:ext uri="{FF2B5EF4-FFF2-40B4-BE49-F238E27FC236}">
                <a16:creationId xmlns:a16="http://schemas.microsoft.com/office/drawing/2014/main" id="{703CBD74-E145-9A4B-AF40-81075C209E23}"/>
              </a:ext>
            </a:extLst>
          </p:cNvPr>
          <p:cNvSpPr>
            <a:spLocks noGrp="1"/>
          </p:cNvSpPr>
          <p:nvPr>
            <p:ph type="dt" sz="half" idx="10"/>
          </p:nvPr>
        </p:nvSpPr>
        <p:spPr/>
        <p:txBody>
          <a:bodyPr/>
          <a:lstStyle/>
          <a:p>
            <a:fld id="{857150E0-9EAA-5C40-BC48-0E092ADAF3D4}" type="datetime1">
              <a:rPr lang="en-US" smtClean="0"/>
              <a:t>6/7/2024</a:t>
            </a:fld>
            <a:endParaRPr lang="en-US" dirty="0"/>
          </a:p>
        </p:txBody>
      </p:sp>
      <p:sp>
        <p:nvSpPr>
          <p:cNvPr id="9" name="Footer Placeholder 8">
            <a:extLst>
              <a:ext uri="{FF2B5EF4-FFF2-40B4-BE49-F238E27FC236}">
                <a16:creationId xmlns:a16="http://schemas.microsoft.com/office/drawing/2014/main" id="{50AB81B8-FA8C-E943-9BDE-DCC7952CBC9A}"/>
              </a:ext>
            </a:extLst>
          </p:cNvPr>
          <p:cNvSpPr>
            <a:spLocks noGrp="1"/>
          </p:cNvSpPr>
          <p:nvPr>
            <p:ph type="ftr" sz="quarter" idx="11"/>
          </p:nvPr>
        </p:nvSpPr>
        <p:spPr/>
        <p:txBody>
          <a:bodyPr/>
          <a:lstStyle>
            <a:lvl1pPr>
              <a:defRPr b="1" i="0" baseline="0"/>
            </a:lvl1pPr>
          </a:lstStyle>
          <a:p>
            <a:r>
              <a:rPr lang="en-US" dirty="0"/>
              <a:t>FOR INTERNAL USE ONLY</a:t>
            </a:r>
          </a:p>
        </p:txBody>
      </p:sp>
      <p:sp>
        <p:nvSpPr>
          <p:cNvPr id="10" name="Slide Number Placeholder 9">
            <a:extLst>
              <a:ext uri="{FF2B5EF4-FFF2-40B4-BE49-F238E27FC236}">
                <a16:creationId xmlns:a16="http://schemas.microsoft.com/office/drawing/2014/main" id="{ACF16414-ED7A-D44A-AFDC-E4C657FC79A8}"/>
              </a:ext>
            </a:extLst>
          </p:cNvPr>
          <p:cNvSpPr>
            <a:spLocks noGrp="1"/>
          </p:cNvSpPr>
          <p:nvPr>
            <p:ph type="sldNum" sz="quarter" idx="12"/>
          </p:nvPr>
        </p:nvSpPr>
        <p:spPr/>
        <p:txBody>
          <a:bodyPr/>
          <a:lstStyle/>
          <a:p>
            <a:fld id="{C0AFECD8-B8AF-5C4E-B306-A0438013ED66}" type="slidenum">
              <a:rPr lang="en-US" smtClean="0"/>
              <a:t>‹#›</a:t>
            </a:fld>
            <a:endParaRPr lang="en-US" dirty="0"/>
          </a:p>
        </p:txBody>
      </p:sp>
      <p:sp>
        <p:nvSpPr>
          <p:cNvPr id="5" name="Title 4">
            <a:extLst>
              <a:ext uri="{FF2B5EF4-FFF2-40B4-BE49-F238E27FC236}">
                <a16:creationId xmlns:a16="http://schemas.microsoft.com/office/drawing/2014/main" id="{052EDBEE-768C-C240-92F5-019B7286C221}"/>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871362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5FEA0F3-FE77-4342-9F85-A445BCEDC24A}"/>
              </a:ext>
            </a:extLst>
          </p:cNvPr>
          <p:cNvSpPr>
            <a:spLocks noGrp="1"/>
          </p:cNvSpPr>
          <p:nvPr>
            <p:ph sz="half" idx="1"/>
          </p:nvPr>
        </p:nvSpPr>
        <p:spPr>
          <a:xfrm>
            <a:off x="495235" y="1825626"/>
            <a:ext cx="5219021" cy="3732337"/>
          </a:xfrm>
        </p:spPr>
        <p:txBody>
          <a:bodyPr/>
          <a:lstStyle>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7D38F12A-92D9-C04F-948A-1A7BDED22BE8}"/>
              </a:ext>
            </a:extLst>
          </p:cNvPr>
          <p:cNvSpPr>
            <a:spLocks noGrp="1"/>
          </p:cNvSpPr>
          <p:nvPr>
            <p:ph sz="half" idx="2"/>
          </p:nvPr>
        </p:nvSpPr>
        <p:spPr>
          <a:xfrm>
            <a:off x="5866636" y="1825626"/>
            <a:ext cx="5180926" cy="3732337"/>
          </a:xfrm>
        </p:spPr>
        <p:txBody>
          <a:bodyPr/>
          <a:lstStyle>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DC024075-CE92-864D-BB63-ECA21C4A4BC9}"/>
              </a:ext>
            </a:extLst>
          </p:cNvPr>
          <p:cNvSpPr>
            <a:spLocks noGrp="1"/>
          </p:cNvSpPr>
          <p:nvPr>
            <p:ph type="dt" sz="half" idx="10"/>
          </p:nvPr>
        </p:nvSpPr>
        <p:spPr/>
        <p:txBody>
          <a:bodyPr/>
          <a:lstStyle/>
          <a:p>
            <a:fld id="{1743EBB7-D426-AB49-9ED9-FE9C62AE0A26}" type="datetime1">
              <a:rPr lang="en-US" smtClean="0"/>
              <a:t>6/7/2024</a:t>
            </a:fld>
            <a:endParaRPr lang="en-US" dirty="0"/>
          </a:p>
        </p:txBody>
      </p:sp>
      <p:sp>
        <p:nvSpPr>
          <p:cNvPr id="6" name="Footer Placeholder 5">
            <a:extLst>
              <a:ext uri="{FF2B5EF4-FFF2-40B4-BE49-F238E27FC236}">
                <a16:creationId xmlns:a16="http://schemas.microsoft.com/office/drawing/2014/main" id="{35217306-C568-A74F-93D5-CB527C7F8131}"/>
              </a:ext>
            </a:extLst>
          </p:cNvPr>
          <p:cNvSpPr>
            <a:spLocks noGrp="1"/>
          </p:cNvSpPr>
          <p:nvPr>
            <p:ph type="ftr" sz="quarter" idx="11"/>
          </p:nvPr>
        </p:nvSpPr>
        <p:spPr/>
        <p:txBody>
          <a:bodyPr/>
          <a:lstStyle/>
          <a:p>
            <a:r>
              <a:rPr lang="en-US" dirty="0"/>
              <a:t>FOR INTERNAL USE ONLY</a:t>
            </a:r>
          </a:p>
        </p:txBody>
      </p:sp>
      <p:sp>
        <p:nvSpPr>
          <p:cNvPr id="7" name="Slide Number Placeholder 6">
            <a:extLst>
              <a:ext uri="{FF2B5EF4-FFF2-40B4-BE49-F238E27FC236}">
                <a16:creationId xmlns:a16="http://schemas.microsoft.com/office/drawing/2014/main" id="{CF39A6D4-8217-9047-9309-6F3296601C99}"/>
              </a:ext>
            </a:extLst>
          </p:cNvPr>
          <p:cNvSpPr>
            <a:spLocks noGrp="1"/>
          </p:cNvSpPr>
          <p:nvPr>
            <p:ph type="sldNum" sz="quarter" idx="12"/>
          </p:nvPr>
        </p:nvSpPr>
        <p:spPr/>
        <p:txBody>
          <a:bodyPr/>
          <a:lstStyle/>
          <a:p>
            <a:fld id="{C0AFECD8-B8AF-5C4E-B306-A0438013ED66}" type="slidenum">
              <a:rPr lang="en-US" smtClean="0"/>
              <a:t>‹#›</a:t>
            </a:fld>
            <a:endParaRPr lang="en-US" dirty="0"/>
          </a:p>
        </p:txBody>
      </p:sp>
      <p:sp>
        <p:nvSpPr>
          <p:cNvPr id="8" name="Title 7">
            <a:extLst>
              <a:ext uri="{FF2B5EF4-FFF2-40B4-BE49-F238E27FC236}">
                <a16:creationId xmlns:a16="http://schemas.microsoft.com/office/drawing/2014/main" id="{2A05A640-E2E9-7044-AC75-31DDB2AEB9BC}"/>
              </a:ext>
            </a:extLst>
          </p:cNvPr>
          <p:cNvSpPr>
            <a:spLocks noGrp="1"/>
          </p:cNvSpPr>
          <p:nvPr>
            <p:ph type="title"/>
          </p:nvPr>
        </p:nvSpPr>
        <p:spPr/>
        <p:txBody>
          <a:bodyPr/>
          <a:lstStyle>
            <a:lvl1pPr>
              <a:lnSpc>
                <a:spcPct val="85000"/>
              </a:lnSpc>
              <a:defRPr/>
            </a:lvl1pPr>
          </a:lstStyle>
          <a:p>
            <a:r>
              <a:rPr lang="en-US" dirty="0"/>
              <a:t>Click to edit Master title style</a:t>
            </a:r>
          </a:p>
        </p:txBody>
      </p:sp>
    </p:spTree>
    <p:extLst>
      <p:ext uri="{BB962C8B-B14F-4D97-AF65-F5344CB8AC3E}">
        <p14:creationId xmlns:p14="http://schemas.microsoft.com/office/powerpoint/2010/main" val="11104731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alf Page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07934" y="1457960"/>
            <a:ext cx="5714256" cy="4663440"/>
          </a:xfrm>
          <a:prstGeom prst="rect">
            <a:avLst/>
          </a:prstGeom>
        </p:spPr>
        <p:txBody>
          <a:bodyPr/>
          <a:lstStyle>
            <a:lvl1pPr>
              <a:defRPr sz="1866"/>
            </a:lvl1pPr>
            <a:lvl2pPr>
              <a:defRPr sz="1866"/>
            </a:lvl2pPr>
            <a:lvl3pPr>
              <a:defRPr sz="1200"/>
            </a:lvl3pPr>
            <a:lvl4pPr>
              <a:defRPr sz="1051"/>
            </a:lvl4pPr>
            <a:lvl5pPr marL="1219078" indent="-228577">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a:t>CLICK TO EDIT MASTER TITLE STYLE</a:t>
            </a:r>
          </a:p>
        </p:txBody>
      </p:sp>
      <p:sp>
        <p:nvSpPr>
          <p:cNvPr id="7" name="Text Placeholder 11">
            <a:extLst>
              <a:ext uri="{FF2B5EF4-FFF2-40B4-BE49-F238E27FC236}">
                <a16:creationId xmlns:a16="http://schemas.microsoft.com/office/drawing/2014/main" id="{A4B4A63B-D66E-4366-A520-A90FEFCAD3B2}"/>
              </a:ext>
            </a:extLst>
          </p:cNvPr>
          <p:cNvSpPr>
            <a:spLocks noGrp="1"/>
          </p:cNvSpPr>
          <p:nvPr>
            <p:ph type="body" sz="quarter" idx="10" hasCustomPrompt="1"/>
          </p:nvPr>
        </p:nvSpPr>
        <p:spPr>
          <a:xfrm>
            <a:off x="507934" y="6121400"/>
            <a:ext cx="8970235" cy="377952"/>
          </a:xfrm>
          <a:noFill/>
        </p:spPr>
        <p:txBody>
          <a:bodyPr wrap="square" lIns="0" tIns="0" bIns="0" rtlCol="0" anchor="t">
            <a:noAutofit/>
          </a:bodyPr>
          <a:lstStyle>
            <a:lvl1pPr marL="0" indent="0">
              <a:spcBef>
                <a:spcPts val="100"/>
              </a:spcBef>
              <a:buFontTx/>
              <a:buNone/>
              <a:defRPr lang="en-US" sz="933" dirty="0">
                <a:solidFill>
                  <a:schemeClr val="bg1"/>
                </a:solidFill>
              </a:defRPr>
            </a:lvl1pPr>
          </a:lstStyle>
          <a:p>
            <a:pPr lvl="0" fontAlgn="base">
              <a:spcBef>
                <a:spcPct val="0"/>
              </a:spcBef>
              <a:spcAft>
                <a:spcPct val="0"/>
              </a:spcAft>
            </a:pPr>
            <a:r>
              <a:rPr lang="en-US"/>
              <a:t>Click to edit Master text styles</a:t>
            </a:r>
          </a:p>
        </p:txBody>
      </p:sp>
    </p:spTree>
    <p:extLst>
      <p:ext uri="{BB962C8B-B14F-4D97-AF65-F5344CB8AC3E}">
        <p14:creationId xmlns:p14="http://schemas.microsoft.com/office/powerpoint/2010/main" val="28996615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7B0AE6-C8D1-8C4D-8231-0D159F2258D8}"/>
              </a:ext>
            </a:extLst>
          </p:cNvPr>
          <p:cNvSpPr>
            <a:spLocks noGrp="1"/>
          </p:cNvSpPr>
          <p:nvPr>
            <p:ph type="body" idx="1"/>
          </p:nvPr>
        </p:nvSpPr>
        <p:spPr>
          <a:xfrm>
            <a:off x="495236" y="1421180"/>
            <a:ext cx="5119945" cy="823912"/>
          </a:xfrm>
        </p:spPr>
        <p:txBody>
          <a:bodyPr anchor="b">
            <a:normAutofit/>
          </a:bodyPr>
          <a:lstStyle>
            <a:lvl1pPr marL="0" indent="0">
              <a:buNone/>
              <a:defRPr sz="20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88E97601-30DB-7247-95EC-E5DC55D3EF9B}"/>
              </a:ext>
            </a:extLst>
          </p:cNvPr>
          <p:cNvSpPr>
            <a:spLocks noGrp="1"/>
          </p:cNvSpPr>
          <p:nvPr>
            <p:ph sz="half" idx="2"/>
          </p:nvPr>
        </p:nvSpPr>
        <p:spPr>
          <a:xfrm>
            <a:off x="495236" y="2245092"/>
            <a:ext cx="5119945" cy="302903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E4F5C0D-5A5A-EA47-A641-D68AB69322D3}"/>
              </a:ext>
            </a:extLst>
          </p:cNvPr>
          <p:cNvSpPr>
            <a:spLocks noGrp="1"/>
          </p:cNvSpPr>
          <p:nvPr>
            <p:ph type="body" sz="quarter" idx="3"/>
          </p:nvPr>
        </p:nvSpPr>
        <p:spPr>
          <a:xfrm>
            <a:off x="5789783" y="1421180"/>
            <a:ext cx="5182513" cy="823912"/>
          </a:xfrm>
        </p:spPr>
        <p:txBody>
          <a:bodyPr anchor="b">
            <a:normAutofit/>
          </a:bodyPr>
          <a:lstStyle>
            <a:lvl1pPr marL="0" indent="0">
              <a:buNone/>
              <a:defRPr sz="20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US" dirty="0"/>
              <a:t>Edit Master text styles</a:t>
            </a:r>
          </a:p>
        </p:txBody>
      </p:sp>
      <p:sp>
        <p:nvSpPr>
          <p:cNvPr id="6" name="Content Placeholder 5">
            <a:extLst>
              <a:ext uri="{FF2B5EF4-FFF2-40B4-BE49-F238E27FC236}">
                <a16:creationId xmlns:a16="http://schemas.microsoft.com/office/drawing/2014/main" id="{08CD8D6D-0E2A-B74B-86F4-9F1A92708524}"/>
              </a:ext>
            </a:extLst>
          </p:cNvPr>
          <p:cNvSpPr>
            <a:spLocks noGrp="1"/>
          </p:cNvSpPr>
          <p:nvPr>
            <p:ph sz="quarter" idx="4"/>
          </p:nvPr>
        </p:nvSpPr>
        <p:spPr>
          <a:xfrm>
            <a:off x="5789783" y="2245092"/>
            <a:ext cx="5182513" cy="302903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099CE67B-5FB4-CC41-B8EC-B53F04C8B573}"/>
              </a:ext>
            </a:extLst>
          </p:cNvPr>
          <p:cNvSpPr>
            <a:spLocks noGrp="1"/>
          </p:cNvSpPr>
          <p:nvPr>
            <p:ph type="dt" sz="half" idx="10"/>
          </p:nvPr>
        </p:nvSpPr>
        <p:spPr/>
        <p:txBody>
          <a:bodyPr/>
          <a:lstStyle/>
          <a:p>
            <a:fld id="{1C213C15-FE86-914F-A8A3-B8749E98BC23}" type="datetime1">
              <a:rPr lang="en-US" smtClean="0"/>
              <a:t>6/7/2024</a:t>
            </a:fld>
            <a:endParaRPr lang="en-US" dirty="0"/>
          </a:p>
        </p:txBody>
      </p:sp>
      <p:sp>
        <p:nvSpPr>
          <p:cNvPr id="8" name="Footer Placeholder 7">
            <a:extLst>
              <a:ext uri="{FF2B5EF4-FFF2-40B4-BE49-F238E27FC236}">
                <a16:creationId xmlns:a16="http://schemas.microsoft.com/office/drawing/2014/main" id="{8B6E641E-FC2D-4447-B609-D59411A36744}"/>
              </a:ext>
            </a:extLst>
          </p:cNvPr>
          <p:cNvSpPr>
            <a:spLocks noGrp="1"/>
          </p:cNvSpPr>
          <p:nvPr>
            <p:ph type="ftr" sz="quarter" idx="11"/>
          </p:nvPr>
        </p:nvSpPr>
        <p:spPr/>
        <p:txBody>
          <a:bodyPr/>
          <a:lstStyle/>
          <a:p>
            <a:r>
              <a:rPr lang="en-US"/>
              <a:t>FOR INTERNAL USE ONLY</a:t>
            </a:r>
            <a:endParaRPr lang="en-US" dirty="0"/>
          </a:p>
        </p:txBody>
      </p:sp>
      <p:sp>
        <p:nvSpPr>
          <p:cNvPr id="9" name="Slide Number Placeholder 8">
            <a:extLst>
              <a:ext uri="{FF2B5EF4-FFF2-40B4-BE49-F238E27FC236}">
                <a16:creationId xmlns:a16="http://schemas.microsoft.com/office/drawing/2014/main" id="{5D4B0B08-EBF0-8348-A7B2-017A950C0534}"/>
              </a:ext>
            </a:extLst>
          </p:cNvPr>
          <p:cNvSpPr>
            <a:spLocks noGrp="1"/>
          </p:cNvSpPr>
          <p:nvPr>
            <p:ph type="sldNum" sz="quarter" idx="12"/>
          </p:nvPr>
        </p:nvSpPr>
        <p:spPr/>
        <p:txBody>
          <a:bodyPr/>
          <a:lstStyle/>
          <a:p>
            <a:fld id="{C0AFECD8-B8AF-5C4E-B306-A0438013ED66}" type="slidenum">
              <a:rPr lang="en-US" smtClean="0"/>
              <a:t>‹#›</a:t>
            </a:fld>
            <a:endParaRPr lang="en-US" dirty="0"/>
          </a:p>
        </p:txBody>
      </p:sp>
      <p:sp>
        <p:nvSpPr>
          <p:cNvPr id="10" name="Title 9">
            <a:extLst>
              <a:ext uri="{FF2B5EF4-FFF2-40B4-BE49-F238E27FC236}">
                <a16:creationId xmlns:a16="http://schemas.microsoft.com/office/drawing/2014/main" id="{50657FED-0BE6-2B46-93FB-E5A3B7DF8E6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37925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FA904D-ED8C-AC41-84DE-8253AE32D634}"/>
              </a:ext>
            </a:extLst>
          </p:cNvPr>
          <p:cNvSpPr>
            <a:spLocks noGrp="1"/>
          </p:cNvSpPr>
          <p:nvPr>
            <p:ph type="dt" sz="half" idx="10"/>
          </p:nvPr>
        </p:nvSpPr>
        <p:spPr/>
        <p:txBody>
          <a:bodyPr/>
          <a:lstStyle/>
          <a:p>
            <a:fld id="{398BDB17-5F77-B640-B829-6B26F62B9635}" type="datetime1">
              <a:rPr lang="en-US" smtClean="0"/>
              <a:t>6/7/2024</a:t>
            </a:fld>
            <a:endParaRPr lang="en-US" dirty="0"/>
          </a:p>
        </p:txBody>
      </p:sp>
      <p:sp>
        <p:nvSpPr>
          <p:cNvPr id="4" name="Footer Placeholder 3">
            <a:extLst>
              <a:ext uri="{FF2B5EF4-FFF2-40B4-BE49-F238E27FC236}">
                <a16:creationId xmlns:a16="http://schemas.microsoft.com/office/drawing/2014/main" id="{ECE223AD-CE3D-734A-98DA-F7BD9700DF65}"/>
              </a:ext>
            </a:extLst>
          </p:cNvPr>
          <p:cNvSpPr>
            <a:spLocks noGrp="1"/>
          </p:cNvSpPr>
          <p:nvPr>
            <p:ph type="ftr" sz="quarter" idx="11"/>
          </p:nvPr>
        </p:nvSpPr>
        <p:spPr/>
        <p:txBody>
          <a:bodyPr/>
          <a:lstStyle/>
          <a:p>
            <a:r>
              <a:rPr lang="en-US" dirty="0"/>
              <a:t>FOR INTERNAL USE ONLY</a:t>
            </a:r>
          </a:p>
        </p:txBody>
      </p:sp>
      <p:sp>
        <p:nvSpPr>
          <p:cNvPr id="5" name="Slide Number Placeholder 4">
            <a:extLst>
              <a:ext uri="{FF2B5EF4-FFF2-40B4-BE49-F238E27FC236}">
                <a16:creationId xmlns:a16="http://schemas.microsoft.com/office/drawing/2014/main" id="{52C8BEBF-ADEB-9247-AC7D-F5F28250206B}"/>
              </a:ext>
            </a:extLst>
          </p:cNvPr>
          <p:cNvSpPr>
            <a:spLocks noGrp="1"/>
          </p:cNvSpPr>
          <p:nvPr>
            <p:ph type="sldNum" sz="quarter" idx="12"/>
          </p:nvPr>
        </p:nvSpPr>
        <p:spPr/>
        <p:txBody>
          <a:bodyPr/>
          <a:lstStyle/>
          <a:p>
            <a:fld id="{C0AFECD8-B8AF-5C4E-B306-A0438013ED66}" type="slidenum">
              <a:rPr lang="en-US" smtClean="0"/>
              <a:t>‹#›</a:t>
            </a:fld>
            <a:endParaRPr lang="en-US" dirty="0"/>
          </a:p>
        </p:txBody>
      </p:sp>
      <p:sp>
        <p:nvSpPr>
          <p:cNvPr id="6" name="Title 5">
            <a:extLst>
              <a:ext uri="{FF2B5EF4-FFF2-40B4-BE49-F238E27FC236}">
                <a16:creationId xmlns:a16="http://schemas.microsoft.com/office/drawing/2014/main" id="{31EEF3D0-910B-0342-9BCF-2D0FEE4844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75447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ar chart example">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FA904D-ED8C-AC41-84DE-8253AE32D634}"/>
              </a:ext>
            </a:extLst>
          </p:cNvPr>
          <p:cNvSpPr>
            <a:spLocks noGrp="1"/>
          </p:cNvSpPr>
          <p:nvPr>
            <p:ph type="dt" sz="half" idx="10"/>
          </p:nvPr>
        </p:nvSpPr>
        <p:spPr/>
        <p:txBody>
          <a:bodyPr/>
          <a:lstStyle/>
          <a:p>
            <a:fld id="{0DAB198B-4860-5D47-8F6A-97B7EF5153E4}" type="datetime1">
              <a:rPr lang="en-US" smtClean="0"/>
              <a:t>6/7/2024</a:t>
            </a:fld>
            <a:endParaRPr lang="en-US" dirty="0"/>
          </a:p>
        </p:txBody>
      </p:sp>
      <p:sp>
        <p:nvSpPr>
          <p:cNvPr id="4" name="Footer Placeholder 3">
            <a:extLst>
              <a:ext uri="{FF2B5EF4-FFF2-40B4-BE49-F238E27FC236}">
                <a16:creationId xmlns:a16="http://schemas.microsoft.com/office/drawing/2014/main" id="{ECE223AD-CE3D-734A-98DA-F7BD9700DF65}"/>
              </a:ext>
            </a:extLst>
          </p:cNvPr>
          <p:cNvSpPr>
            <a:spLocks noGrp="1"/>
          </p:cNvSpPr>
          <p:nvPr>
            <p:ph type="ftr" sz="quarter" idx="11"/>
          </p:nvPr>
        </p:nvSpPr>
        <p:spPr/>
        <p:txBody>
          <a:bodyPr/>
          <a:lstStyle/>
          <a:p>
            <a:r>
              <a:rPr lang="en-US" dirty="0"/>
              <a:t>FOR INTERNAL USE ONLY</a:t>
            </a:r>
          </a:p>
        </p:txBody>
      </p:sp>
      <p:sp>
        <p:nvSpPr>
          <p:cNvPr id="5" name="Slide Number Placeholder 4">
            <a:extLst>
              <a:ext uri="{FF2B5EF4-FFF2-40B4-BE49-F238E27FC236}">
                <a16:creationId xmlns:a16="http://schemas.microsoft.com/office/drawing/2014/main" id="{52C8BEBF-ADEB-9247-AC7D-F5F28250206B}"/>
              </a:ext>
            </a:extLst>
          </p:cNvPr>
          <p:cNvSpPr>
            <a:spLocks noGrp="1"/>
          </p:cNvSpPr>
          <p:nvPr>
            <p:ph type="sldNum" sz="quarter" idx="12"/>
          </p:nvPr>
        </p:nvSpPr>
        <p:spPr/>
        <p:txBody>
          <a:bodyPr/>
          <a:lstStyle/>
          <a:p>
            <a:fld id="{C0AFECD8-B8AF-5C4E-B306-A0438013ED66}" type="slidenum">
              <a:rPr lang="en-US" smtClean="0"/>
              <a:t>‹#›</a:t>
            </a:fld>
            <a:endParaRPr lang="en-US" dirty="0"/>
          </a:p>
        </p:txBody>
      </p:sp>
      <p:graphicFrame>
        <p:nvGraphicFramePr>
          <p:cNvPr id="8" name="Content Placeholder 7">
            <a:extLst>
              <a:ext uri="{FF2B5EF4-FFF2-40B4-BE49-F238E27FC236}">
                <a16:creationId xmlns:a16="http://schemas.microsoft.com/office/drawing/2014/main" id="{AD822D11-7787-5E4F-BC20-6797A5D67349}"/>
              </a:ext>
            </a:extLst>
          </p:cNvPr>
          <p:cNvGraphicFramePr>
            <a:graphicFrameLocks/>
          </p:cNvGraphicFramePr>
          <p:nvPr userDrawn="1">
            <p:extLst>
              <p:ext uri="{D42A27DB-BD31-4B8C-83A1-F6EECF244321}">
                <p14:modId xmlns:p14="http://schemas.microsoft.com/office/powerpoint/2010/main" val="1552731942"/>
              </p:ext>
            </p:extLst>
          </p:nvPr>
        </p:nvGraphicFramePr>
        <p:xfrm>
          <a:off x="1053613" y="1634706"/>
          <a:ext cx="10514231" cy="4866577"/>
        </p:xfrm>
        <a:graphic>
          <a:graphicData uri="http://schemas.openxmlformats.org/drawingml/2006/chart">
            <c:chart xmlns:c="http://schemas.openxmlformats.org/drawingml/2006/chart" xmlns:r="http://schemas.openxmlformats.org/officeDocument/2006/relationships" r:id="rId2"/>
          </a:graphicData>
        </a:graphic>
      </p:graphicFrame>
      <p:grpSp>
        <p:nvGrpSpPr>
          <p:cNvPr id="10" name="Group 9">
            <a:extLst>
              <a:ext uri="{FF2B5EF4-FFF2-40B4-BE49-F238E27FC236}">
                <a16:creationId xmlns:a16="http://schemas.microsoft.com/office/drawing/2014/main" id="{9F7810F2-6875-284F-9C46-4B746216E615}"/>
              </a:ext>
            </a:extLst>
          </p:cNvPr>
          <p:cNvGrpSpPr/>
          <p:nvPr userDrawn="1"/>
        </p:nvGrpSpPr>
        <p:grpSpPr>
          <a:xfrm>
            <a:off x="495236" y="1414514"/>
            <a:ext cx="10620980" cy="545786"/>
            <a:chOff x="445058" y="1414514"/>
            <a:chExt cx="10622363" cy="545786"/>
          </a:xfrm>
        </p:grpSpPr>
        <p:sp>
          <p:nvSpPr>
            <p:cNvPr id="11" name="Content Placeholder 7">
              <a:extLst>
                <a:ext uri="{FF2B5EF4-FFF2-40B4-BE49-F238E27FC236}">
                  <a16:creationId xmlns:a16="http://schemas.microsoft.com/office/drawing/2014/main" id="{BF6D785F-3AEF-3845-905B-6CCFDAF9BBF9}"/>
                </a:ext>
              </a:extLst>
            </p:cNvPr>
            <p:cNvSpPr txBox="1">
              <a:spLocks/>
            </p:cNvSpPr>
            <p:nvPr/>
          </p:nvSpPr>
          <p:spPr>
            <a:xfrm>
              <a:off x="445058" y="1414514"/>
              <a:ext cx="10622363" cy="545786"/>
            </a:xfrm>
            <a:prstGeom prst="rect">
              <a:avLst/>
            </a:prstGeom>
          </p:spPr>
          <p:txBody>
            <a:bodyPr vert="horz" lIns="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Helvetica" pitchFamily="2" charset="0"/>
                <a:buChar char="―"/>
                <a:defRPr sz="20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Courier New" panose="02070309020205020404" pitchFamily="49" charset="0"/>
                <a:buChar char="o"/>
                <a:defRPr sz="18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Arial" panose="020B0604020202020204" pitchFamily="34" charset="0"/>
                  <a:cs typeface="Arial" panose="020B0604020202020204" pitchFamily="34" charset="0"/>
                </a:rPr>
                <a:t>Highly significant increase in MFS vs ADT alone </a:t>
              </a:r>
            </a:p>
          </p:txBody>
        </p:sp>
        <p:cxnSp>
          <p:nvCxnSpPr>
            <p:cNvPr id="12" name="Straight Connector 11">
              <a:extLst>
                <a:ext uri="{FF2B5EF4-FFF2-40B4-BE49-F238E27FC236}">
                  <a16:creationId xmlns:a16="http://schemas.microsoft.com/office/drawing/2014/main" id="{4A2E8C18-73B6-EF42-A02C-C2BEDF582367}"/>
                </a:ext>
              </a:extLst>
            </p:cNvPr>
            <p:cNvCxnSpPr/>
            <p:nvPr/>
          </p:nvCxnSpPr>
          <p:spPr>
            <a:xfrm>
              <a:off x="445058" y="1899138"/>
              <a:ext cx="10420140"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6" name="Title 5">
            <a:extLst>
              <a:ext uri="{FF2B5EF4-FFF2-40B4-BE49-F238E27FC236}">
                <a16:creationId xmlns:a16="http://schemas.microsoft.com/office/drawing/2014/main" id="{31EEF3D0-910B-0342-9BCF-2D0FEE484433}"/>
              </a:ext>
            </a:extLst>
          </p:cNvPr>
          <p:cNvSpPr>
            <a:spLocks noGrp="1"/>
          </p:cNvSpPr>
          <p:nvPr>
            <p:ph type="title"/>
          </p:nvPr>
        </p:nvSpPr>
        <p:spPr/>
        <p:txBody>
          <a:bodyPr/>
          <a:lstStyle/>
          <a:p>
            <a:r>
              <a:rPr lang="en-US"/>
              <a:t>Click to edit Master title style</a:t>
            </a:r>
          </a:p>
        </p:txBody>
      </p:sp>
      <p:sp>
        <p:nvSpPr>
          <p:cNvPr id="17" name="Rectangle 16">
            <a:extLst>
              <a:ext uri="{FF2B5EF4-FFF2-40B4-BE49-F238E27FC236}">
                <a16:creationId xmlns:a16="http://schemas.microsoft.com/office/drawing/2014/main" id="{91D647CD-5116-964E-9E94-F194DE20D755}"/>
              </a:ext>
            </a:extLst>
          </p:cNvPr>
          <p:cNvSpPr/>
          <p:nvPr userDrawn="1"/>
        </p:nvSpPr>
        <p:spPr>
          <a:xfrm>
            <a:off x="4835090" y="127221"/>
            <a:ext cx="3235760" cy="755374"/>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Style Example Only</a:t>
            </a:r>
          </a:p>
          <a:p>
            <a:pPr algn="ctr"/>
            <a:r>
              <a:rPr lang="en-US" sz="1400" dirty="0">
                <a:solidFill>
                  <a:schemeClr val="tx1"/>
                </a:solidFill>
              </a:rPr>
              <a:t>Charts cannot be templated</a:t>
            </a:r>
          </a:p>
        </p:txBody>
      </p:sp>
    </p:spTree>
    <p:extLst>
      <p:ext uri="{BB962C8B-B14F-4D97-AF65-F5344CB8AC3E}">
        <p14:creationId xmlns:p14="http://schemas.microsoft.com/office/powerpoint/2010/main" val="7124122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Example">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3427890-ADB8-B24B-8AF6-B623EB4D7D77}"/>
              </a:ext>
            </a:extLst>
          </p:cNvPr>
          <p:cNvSpPr>
            <a:spLocks noGrp="1"/>
          </p:cNvSpPr>
          <p:nvPr>
            <p:ph type="dt" sz="half" idx="10"/>
          </p:nvPr>
        </p:nvSpPr>
        <p:spPr/>
        <p:txBody>
          <a:bodyPr/>
          <a:lstStyle/>
          <a:p>
            <a:fld id="{679470BA-A674-B94A-BE3E-27443BADEBCC}" type="datetime1">
              <a:rPr lang="en-US" smtClean="0"/>
              <a:t>6/7/2024</a:t>
            </a:fld>
            <a:endParaRPr lang="en-US" dirty="0"/>
          </a:p>
        </p:txBody>
      </p:sp>
      <p:sp>
        <p:nvSpPr>
          <p:cNvPr id="3" name="Footer Placeholder 2">
            <a:extLst>
              <a:ext uri="{FF2B5EF4-FFF2-40B4-BE49-F238E27FC236}">
                <a16:creationId xmlns:a16="http://schemas.microsoft.com/office/drawing/2014/main" id="{9635417F-6848-0341-A8F4-A31CF5A1309A}"/>
              </a:ext>
            </a:extLst>
          </p:cNvPr>
          <p:cNvSpPr>
            <a:spLocks noGrp="1"/>
          </p:cNvSpPr>
          <p:nvPr>
            <p:ph type="ftr" sz="quarter" idx="11"/>
          </p:nvPr>
        </p:nvSpPr>
        <p:spPr/>
        <p:txBody>
          <a:bodyPr/>
          <a:lstStyle/>
          <a:p>
            <a:r>
              <a:rPr lang="en-US" dirty="0"/>
              <a:t>FOR INTERNAL USE ONLY</a:t>
            </a:r>
          </a:p>
        </p:txBody>
      </p:sp>
      <p:sp>
        <p:nvSpPr>
          <p:cNvPr id="4" name="Slide Number Placeholder 3">
            <a:extLst>
              <a:ext uri="{FF2B5EF4-FFF2-40B4-BE49-F238E27FC236}">
                <a16:creationId xmlns:a16="http://schemas.microsoft.com/office/drawing/2014/main" id="{FD10FB84-49F2-EE4F-93B5-2E732A14758B}"/>
              </a:ext>
            </a:extLst>
          </p:cNvPr>
          <p:cNvSpPr>
            <a:spLocks noGrp="1"/>
          </p:cNvSpPr>
          <p:nvPr>
            <p:ph type="sldNum" sz="quarter" idx="12"/>
          </p:nvPr>
        </p:nvSpPr>
        <p:spPr/>
        <p:txBody>
          <a:bodyPr/>
          <a:lstStyle/>
          <a:p>
            <a:fld id="{C0AFECD8-B8AF-5C4E-B306-A0438013ED66}" type="slidenum">
              <a:rPr lang="en-US" smtClean="0"/>
              <a:t>‹#›</a:t>
            </a:fld>
            <a:endParaRPr lang="en-US" dirty="0"/>
          </a:p>
        </p:txBody>
      </p:sp>
      <p:graphicFrame>
        <p:nvGraphicFramePr>
          <p:cNvPr id="7" name="Table 6">
            <a:extLst>
              <a:ext uri="{FF2B5EF4-FFF2-40B4-BE49-F238E27FC236}">
                <a16:creationId xmlns:a16="http://schemas.microsoft.com/office/drawing/2014/main" id="{09F23A7D-69A5-2846-9794-FE510EE271BB}"/>
              </a:ext>
            </a:extLst>
          </p:cNvPr>
          <p:cNvGraphicFramePr>
            <a:graphicFrameLocks noGrp="1"/>
          </p:cNvGraphicFramePr>
          <p:nvPr userDrawn="1">
            <p:extLst>
              <p:ext uri="{D42A27DB-BD31-4B8C-83A1-F6EECF244321}">
                <p14:modId xmlns:p14="http://schemas.microsoft.com/office/powerpoint/2010/main" val="937638683"/>
              </p:ext>
            </p:extLst>
          </p:nvPr>
        </p:nvGraphicFramePr>
        <p:xfrm>
          <a:off x="2083685" y="2137709"/>
          <a:ext cx="7200273" cy="2939171"/>
        </p:xfrm>
        <a:graphic>
          <a:graphicData uri="http://schemas.openxmlformats.org/drawingml/2006/table">
            <a:tbl>
              <a:tblPr firstRow="1" bandRow="1">
                <a:tableStyleId>{073A0DAA-6AF3-43AB-8588-CEC1D06C72B9}</a:tableStyleId>
              </a:tblPr>
              <a:tblGrid>
                <a:gridCol w="1440055">
                  <a:extLst>
                    <a:ext uri="{9D8B030D-6E8A-4147-A177-3AD203B41FA5}">
                      <a16:colId xmlns:a16="http://schemas.microsoft.com/office/drawing/2014/main" val="3957934296"/>
                    </a:ext>
                  </a:extLst>
                </a:gridCol>
                <a:gridCol w="1440055">
                  <a:extLst>
                    <a:ext uri="{9D8B030D-6E8A-4147-A177-3AD203B41FA5}">
                      <a16:colId xmlns:a16="http://schemas.microsoft.com/office/drawing/2014/main" val="3389176171"/>
                    </a:ext>
                  </a:extLst>
                </a:gridCol>
                <a:gridCol w="1440055">
                  <a:extLst>
                    <a:ext uri="{9D8B030D-6E8A-4147-A177-3AD203B41FA5}">
                      <a16:colId xmlns:a16="http://schemas.microsoft.com/office/drawing/2014/main" val="2668702004"/>
                    </a:ext>
                  </a:extLst>
                </a:gridCol>
                <a:gridCol w="1440055">
                  <a:extLst>
                    <a:ext uri="{9D8B030D-6E8A-4147-A177-3AD203B41FA5}">
                      <a16:colId xmlns:a16="http://schemas.microsoft.com/office/drawing/2014/main" val="4278197419"/>
                    </a:ext>
                  </a:extLst>
                </a:gridCol>
                <a:gridCol w="1440055">
                  <a:extLst>
                    <a:ext uri="{9D8B030D-6E8A-4147-A177-3AD203B41FA5}">
                      <a16:colId xmlns:a16="http://schemas.microsoft.com/office/drawing/2014/main" val="774662539"/>
                    </a:ext>
                  </a:extLst>
                </a:gridCol>
              </a:tblGrid>
              <a:tr h="645685">
                <a:tc>
                  <a:txBody>
                    <a:bodyPr/>
                    <a:lstStyle/>
                    <a:p>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b="0" cap="none" spc="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a:txBody>
                  <a:tcPr marL="91428" marR="91428" anchor="b">
                    <a:lnL w="12700" cmpd="sng">
                      <a:noFill/>
                    </a:lnL>
                    <a:lnR w="12700" cmpd="sng">
                      <a:noFill/>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Arial" panose="020B0604020202020204" pitchFamily="34" charset="0"/>
                          <a:cs typeface="Arial" panose="020B0604020202020204" pitchFamily="34" charset="0"/>
                        </a:rPr>
                        <a:t>A</a:t>
                      </a:r>
                    </a:p>
                  </a:txBody>
                  <a:tcPr marL="91428" marR="91428" anchor="ctr">
                    <a:lnL w="12700" cmpd="sng">
                      <a:noFill/>
                    </a:lnL>
                    <a:lnR w="12700" cmpd="sng">
                      <a:noFill/>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US" sz="1400" dirty="0">
                          <a:latin typeface="Arial" panose="020B0604020202020204" pitchFamily="34" charset="0"/>
                          <a:cs typeface="Arial" panose="020B0604020202020204" pitchFamily="34" charset="0"/>
                        </a:rPr>
                        <a:t>B</a:t>
                      </a:r>
                    </a:p>
                  </a:txBody>
                  <a:tcPr marL="91428" marR="91428" anchor="ctr">
                    <a:lnL w="12700" cmpd="sng">
                      <a:noFill/>
                    </a:lnL>
                    <a:lnR w="12700" cmpd="sng">
                      <a:noFill/>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US" sz="1400" dirty="0">
                          <a:latin typeface="Arial" panose="020B0604020202020204" pitchFamily="34" charset="0"/>
                          <a:cs typeface="Arial" panose="020B0604020202020204" pitchFamily="34" charset="0"/>
                        </a:rPr>
                        <a:t>C</a:t>
                      </a:r>
                    </a:p>
                  </a:txBody>
                  <a:tcPr marL="91428" marR="91428" anchor="ctr">
                    <a:lnL w="12700" cmpd="sng">
                      <a:noFill/>
                    </a:lnL>
                    <a:lnR w="12700" cmpd="sng">
                      <a:noFill/>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a:r>
                        <a:rPr lang="en-US" sz="1400" dirty="0">
                          <a:latin typeface="Arial" panose="020B0604020202020204" pitchFamily="34" charset="0"/>
                          <a:cs typeface="Arial" panose="020B0604020202020204" pitchFamily="34" charset="0"/>
                        </a:rPr>
                        <a:t>D</a:t>
                      </a:r>
                    </a:p>
                  </a:txBody>
                  <a:tcPr marL="91428" marR="91428" anchor="ctr">
                    <a:lnL w="12700" cmpd="sng">
                      <a:noFill/>
                    </a:lnL>
                    <a:lnR w="12700" cmpd="sng">
                      <a:noFill/>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852229324"/>
                  </a:ext>
                </a:extLst>
              </a:tr>
              <a:tr h="572756">
                <a:tc>
                  <a:txBody>
                    <a:bodyPr/>
                    <a:lstStyle/>
                    <a:p>
                      <a:pPr algn="l"/>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12700" cmpd="sng">
                      <a:noFill/>
                    </a:lnL>
                    <a:lnR w="9525" cap="flat" cmpd="sng" algn="ctr">
                      <a:solidFill>
                        <a:schemeClr val="accent6">
                          <a:lumMod val="7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9525" cap="flat" cmpd="sng" algn="ctr">
                      <a:solidFill>
                        <a:schemeClr val="accent6">
                          <a:lumMod val="75000"/>
                        </a:schemeClr>
                      </a:solidFill>
                      <a:prstDash val="solid"/>
                      <a:round/>
                      <a:headEnd type="none" w="med" len="med"/>
                      <a:tailEnd type="none" w="med" len="med"/>
                    </a:lnL>
                    <a:lnR w="9525" cap="flat" cmpd="sng" algn="ctr">
                      <a:solidFill>
                        <a:schemeClr val="accent6">
                          <a:lumMod val="7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9525" cap="flat" cmpd="sng" algn="ctr">
                      <a:solidFill>
                        <a:schemeClr val="accent6">
                          <a:lumMod val="75000"/>
                        </a:schemeClr>
                      </a:solidFill>
                      <a:prstDash val="solid"/>
                      <a:round/>
                      <a:headEnd type="none" w="med" len="med"/>
                      <a:tailEnd type="none" w="med" len="med"/>
                    </a:lnL>
                    <a:lnR w="9525" cap="flat" cmpd="sng" algn="ctr">
                      <a:solidFill>
                        <a:schemeClr val="accent6">
                          <a:lumMod val="7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9525" cap="flat" cmpd="sng" algn="ctr">
                      <a:solidFill>
                        <a:schemeClr val="accent6">
                          <a:lumMod val="75000"/>
                        </a:schemeClr>
                      </a:solidFill>
                      <a:prstDash val="solid"/>
                      <a:round/>
                      <a:headEnd type="none" w="med" len="med"/>
                      <a:tailEnd type="none" w="med" len="med"/>
                    </a:lnL>
                    <a:lnR w="9525" cap="flat" cmpd="sng" algn="ctr">
                      <a:solidFill>
                        <a:schemeClr val="accent6">
                          <a:lumMod val="7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9525" cap="flat" cmpd="sng" algn="ctr">
                      <a:solidFill>
                        <a:schemeClr val="accent6">
                          <a:lumMod val="75000"/>
                        </a:schemeClr>
                      </a:solidFill>
                      <a:prstDash val="solid"/>
                      <a:round/>
                      <a:headEnd type="none" w="med" len="med"/>
                      <a:tailEnd type="none" w="med" len="med"/>
                    </a:lnL>
                    <a:lnR w="12700" cmpd="sng">
                      <a:noFill/>
                    </a:lnR>
                    <a:lnT w="19050" cap="flat" cmpd="sng" algn="ctr">
                      <a:solidFill>
                        <a:schemeClr val="accent1"/>
                      </a:solidFill>
                      <a:prstDash val="solid"/>
                      <a:round/>
                      <a:headEnd type="none" w="med" len="med"/>
                      <a:tailEnd type="none" w="med" len="med"/>
                    </a:lnT>
                    <a:lnB w="9525"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9318197"/>
                  </a:ext>
                </a:extLst>
              </a:tr>
              <a:tr h="860365">
                <a:tc>
                  <a:txBody>
                    <a:bodyPr/>
                    <a:lstStyle/>
                    <a:p>
                      <a:pPr algn="l"/>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12700" cmpd="sng">
                      <a:noFill/>
                    </a:lnL>
                    <a:lnR w="9525" cap="flat" cmpd="sng" algn="ctr">
                      <a:solidFill>
                        <a:schemeClr val="accent6">
                          <a:lumMod val="75000"/>
                        </a:schemeClr>
                      </a:solidFill>
                      <a:prstDash val="solid"/>
                      <a:round/>
                      <a:headEnd type="none" w="med" len="med"/>
                      <a:tailEnd type="none" w="med" len="med"/>
                    </a:lnR>
                    <a:lnT w="9525" cap="flat" cmpd="sng" algn="ctr">
                      <a:solidFill>
                        <a:schemeClr val="accent6">
                          <a:lumMod val="75000"/>
                        </a:schemeClr>
                      </a:solidFill>
                      <a:prstDash val="solid"/>
                      <a:round/>
                      <a:headEnd type="none" w="med" len="med"/>
                      <a:tailEnd type="none" w="med" len="med"/>
                    </a:lnT>
                    <a:lnB w="9525"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9525" cap="flat" cmpd="sng" algn="ctr">
                      <a:solidFill>
                        <a:schemeClr val="accent6">
                          <a:lumMod val="75000"/>
                        </a:schemeClr>
                      </a:solidFill>
                      <a:prstDash val="solid"/>
                      <a:round/>
                      <a:headEnd type="none" w="med" len="med"/>
                      <a:tailEnd type="none" w="med" len="med"/>
                    </a:lnL>
                    <a:lnR w="9525" cap="flat" cmpd="sng" algn="ctr">
                      <a:solidFill>
                        <a:schemeClr val="accent6">
                          <a:lumMod val="75000"/>
                        </a:schemeClr>
                      </a:solidFill>
                      <a:prstDash val="solid"/>
                      <a:round/>
                      <a:headEnd type="none" w="med" len="med"/>
                      <a:tailEnd type="none" w="med" len="med"/>
                    </a:lnR>
                    <a:lnT w="9525" cap="flat" cmpd="sng" algn="ctr">
                      <a:solidFill>
                        <a:schemeClr val="accent6">
                          <a:lumMod val="75000"/>
                        </a:schemeClr>
                      </a:solidFill>
                      <a:prstDash val="solid"/>
                      <a:round/>
                      <a:headEnd type="none" w="med" len="med"/>
                      <a:tailEnd type="none" w="med" len="med"/>
                    </a:lnT>
                    <a:lnB w="9525"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9525" cap="flat" cmpd="sng" algn="ctr">
                      <a:solidFill>
                        <a:schemeClr val="accent6">
                          <a:lumMod val="75000"/>
                        </a:schemeClr>
                      </a:solidFill>
                      <a:prstDash val="solid"/>
                      <a:round/>
                      <a:headEnd type="none" w="med" len="med"/>
                      <a:tailEnd type="none" w="med" len="med"/>
                    </a:lnL>
                    <a:lnR w="9525" cap="flat" cmpd="sng" algn="ctr">
                      <a:solidFill>
                        <a:schemeClr val="accent6">
                          <a:lumMod val="75000"/>
                        </a:schemeClr>
                      </a:solidFill>
                      <a:prstDash val="solid"/>
                      <a:round/>
                      <a:headEnd type="none" w="med" len="med"/>
                      <a:tailEnd type="none" w="med" len="med"/>
                    </a:lnR>
                    <a:lnT w="9525" cap="flat" cmpd="sng" algn="ctr">
                      <a:solidFill>
                        <a:schemeClr val="accent6">
                          <a:lumMod val="75000"/>
                        </a:schemeClr>
                      </a:solidFill>
                      <a:prstDash val="solid"/>
                      <a:round/>
                      <a:headEnd type="none" w="med" len="med"/>
                      <a:tailEnd type="none" w="med" len="med"/>
                    </a:lnT>
                    <a:lnB w="9525"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9525" cap="flat" cmpd="sng" algn="ctr">
                      <a:solidFill>
                        <a:schemeClr val="accent6">
                          <a:lumMod val="75000"/>
                        </a:schemeClr>
                      </a:solidFill>
                      <a:prstDash val="solid"/>
                      <a:round/>
                      <a:headEnd type="none" w="med" len="med"/>
                      <a:tailEnd type="none" w="med" len="med"/>
                    </a:lnL>
                    <a:lnR w="9525" cap="flat" cmpd="sng" algn="ctr">
                      <a:solidFill>
                        <a:schemeClr val="accent6">
                          <a:lumMod val="75000"/>
                        </a:schemeClr>
                      </a:solidFill>
                      <a:prstDash val="solid"/>
                      <a:round/>
                      <a:headEnd type="none" w="med" len="med"/>
                      <a:tailEnd type="none" w="med" len="med"/>
                    </a:lnR>
                    <a:lnT w="9525" cap="flat" cmpd="sng" algn="ctr">
                      <a:solidFill>
                        <a:schemeClr val="accent6">
                          <a:lumMod val="75000"/>
                        </a:schemeClr>
                      </a:solidFill>
                      <a:prstDash val="solid"/>
                      <a:round/>
                      <a:headEnd type="none" w="med" len="med"/>
                      <a:tailEnd type="none" w="med" len="med"/>
                    </a:lnT>
                    <a:lnB w="9525"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9525" cap="flat" cmpd="sng" algn="ctr">
                      <a:solidFill>
                        <a:schemeClr val="accent6">
                          <a:lumMod val="75000"/>
                        </a:schemeClr>
                      </a:solidFill>
                      <a:prstDash val="solid"/>
                      <a:round/>
                      <a:headEnd type="none" w="med" len="med"/>
                      <a:tailEnd type="none" w="med" len="med"/>
                    </a:lnL>
                    <a:lnR w="12700" cmpd="sng">
                      <a:noFill/>
                    </a:lnR>
                    <a:lnT w="9525" cap="flat" cmpd="sng" algn="ctr">
                      <a:solidFill>
                        <a:schemeClr val="accent6">
                          <a:lumMod val="75000"/>
                        </a:schemeClr>
                      </a:solidFill>
                      <a:prstDash val="solid"/>
                      <a:round/>
                      <a:headEnd type="none" w="med" len="med"/>
                      <a:tailEnd type="none" w="med" len="med"/>
                    </a:lnT>
                    <a:lnB w="9525"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7712195"/>
                  </a:ext>
                </a:extLst>
              </a:tr>
              <a:tr h="860365">
                <a:tc>
                  <a:txBody>
                    <a:bodyPr/>
                    <a:lstStyle/>
                    <a:p>
                      <a:pPr algn="l"/>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12700" cmpd="sng">
                      <a:noFill/>
                    </a:lnL>
                    <a:lnR w="9525" cap="flat" cmpd="sng" algn="ctr">
                      <a:solidFill>
                        <a:schemeClr val="accent6">
                          <a:lumMod val="75000"/>
                        </a:schemeClr>
                      </a:solidFill>
                      <a:prstDash val="solid"/>
                      <a:round/>
                      <a:headEnd type="none" w="med" len="med"/>
                      <a:tailEnd type="none" w="med" len="med"/>
                    </a:lnR>
                    <a:lnT w="9525" cap="flat" cmpd="sng" algn="ctr">
                      <a:solidFill>
                        <a:schemeClr val="accent6">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9525" cap="flat" cmpd="sng" algn="ctr">
                      <a:solidFill>
                        <a:schemeClr val="accent6">
                          <a:lumMod val="75000"/>
                        </a:schemeClr>
                      </a:solidFill>
                      <a:prstDash val="solid"/>
                      <a:round/>
                      <a:headEnd type="none" w="med" len="med"/>
                      <a:tailEnd type="none" w="med" len="med"/>
                    </a:lnL>
                    <a:lnR w="9525" cap="flat" cmpd="sng" algn="ctr">
                      <a:solidFill>
                        <a:schemeClr val="accent6">
                          <a:lumMod val="75000"/>
                        </a:schemeClr>
                      </a:solidFill>
                      <a:prstDash val="solid"/>
                      <a:round/>
                      <a:headEnd type="none" w="med" len="med"/>
                      <a:tailEnd type="none" w="med" len="med"/>
                    </a:lnR>
                    <a:lnT w="9525" cap="flat" cmpd="sng" algn="ctr">
                      <a:solidFill>
                        <a:schemeClr val="accent6">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9525" cap="flat" cmpd="sng" algn="ctr">
                      <a:solidFill>
                        <a:schemeClr val="accent6">
                          <a:lumMod val="75000"/>
                        </a:schemeClr>
                      </a:solidFill>
                      <a:prstDash val="solid"/>
                      <a:round/>
                      <a:headEnd type="none" w="med" len="med"/>
                      <a:tailEnd type="none" w="med" len="med"/>
                    </a:lnL>
                    <a:lnR w="9525" cap="flat" cmpd="sng" algn="ctr">
                      <a:solidFill>
                        <a:schemeClr val="accent6">
                          <a:lumMod val="75000"/>
                        </a:schemeClr>
                      </a:solidFill>
                      <a:prstDash val="solid"/>
                      <a:round/>
                      <a:headEnd type="none" w="med" len="med"/>
                      <a:tailEnd type="none" w="med" len="med"/>
                    </a:lnR>
                    <a:lnT w="9525" cap="flat" cmpd="sng" algn="ctr">
                      <a:solidFill>
                        <a:schemeClr val="accent6">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9525" cap="flat" cmpd="sng" algn="ctr">
                      <a:solidFill>
                        <a:schemeClr val="accent6">
                          <a:lumMod val="75000"/>
                        </a:schemeClr>
                      </a:solidFill>
                      <a:prstDash val="solid"/>
                      <a:round/>
                      <a:headEnd type="none" w="med" len="med"/>
                      <a:tailEnd type="none" w="med" len="med"/>
                    </a:lnL>
                    <a:lnR w="9525" cap="flat" cmpd="sng" algn="ctr">
                      <a:solidFill>
                        <a:schemeClr val="accent6">
                          <a:lumMod val="75000"/>
                        </a:schemeClr>
                      </a:solidFill>
                      <a:prstDash val="solid"/>
                      <a:round/>
                      <a:headEnd type="none" w="med" len="med"/>
                      <a:tailEnd type="none" w="med" len="med"/>
                    </a:lnR>
                    <a:lnT w="9525" cap="flat" cmpd="sng" algn="ctr">
                      <a:solidFill>
                        <a:schemeClr val="accent6">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400" b="0" cap="none" spc="0" dirty="0">
                          <a:ln>
                            <a:noFill/>
                          </a:ln>
                          <a:solidFill>
                            <a:schemeClr val="tx1"/>
                          </a:solidFill>
                          <a:effectLst/>
                          <a:latin typeface="Arial" panose="020B0604020202020204" pitchFamily="34" charset="0"/>
                          <a:cs typeface="Arial" panose="020B0604020202020204" pitchFamily="34" charset="0"/>
                        </a:rPr>
                        <a:t>XXXXX</a:t>
                      </a:r>
                      <a:endParaRPr lang="en-US" sz="1400" dirty="0">
                        <a:latin typeface="Arial" panose="020B0604020202020204" pitchFamily="34" charset="0"/>
                        <a:cs typeface="Arial" panose="020B0604020202020204" pitchFamily="34" charset="0"/>
                      </a:endParaRPr>
                    </a:p>
                  </a:txBody>
                  <a:tcPr marL="91428" marR="91428" anchor="ctr">
                    <a:lnL w="9525" cap="flat" cmpd="sng" algn="ctr">
                      <a:solidFill>
                        <a:schemeClr val="accent6">
                          <a:lumMod val="75000"/>
                        </a:schemeClr>
                      </a:solidFill>
                      <a:prstDash val="solid"/>
                      <a:round/>
                      <a:headEnd type="none" w="med" len="med"/>
                      <a:tailEnd type="none" w="med" len="med"/>
                    </a:lnL>
                    <a:lnR w="12700" cmpd="sng">
                      <a:noFill/>
                    </a:lnR>
                    <a:lnT w="9525" cap="flat" cmpd="sng" algn="ctr">
                      <a:solidFill>
                        <a:schemeClr val="accent6">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8281970"/>
                  </a:ext>
                </a:extLst>
              </a:tr>
            </a:tbl>
          </a:graphicData>
        </a:graphic>
      </p:graphicFrame>
      <p:sp>
        <p:nvSpPr>
          <p:cNvPr id="10" name="Title 9">
            <a:extLst>
              <a:ext uri="{FF2B5EF4-FFF2-40B4-BE49-F238E27FC236}">
                <a16:creationId xmlns:a16="http://schemas.microsoft.com/office/drawing/2014/main" id="{8675FDF3-1F72-0540-A111-532C2AFF97C8}"/>
              </a:ext>
            </a:extLst>
          </p:cNvPr>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127D5F87-7E05-A54C-B75B-D3238725747F}"/>
              </a:ext>
            </a:extLst>
          </p:cNvPr>
          <p:cNvSpPr/>
          <p:nvPr userDrawn="1"/>
        </p:nvSpPr>
        <p:spPr>
          <a:xfrm>
            <a:off x="4835090" y="127221"/>
            <a:ext cx="3235760" cy="755374"/>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Style Example Only</a:t>
            </a:r>
          </a:p>
          <a:p>
            <a:pPr algn="ctr"/>
            <a:r>
              <a:rPr lang="en-US" sz="1400" dirty="0">
                <a:solidFill>
                  <a:schemeClr val="tx1"/>
                </a:solidFill>
              </a:rPr>
              <a:t>Tables cannot be templated</a:t>
            </a:r>
          </a:p>
        </p:txBody>
      </p:sp>
      <p:grpSp>
        <p:nvGrpSpPr>
          <p:cNvPr id="9" name="Group 8">
            <a:extLst>
              <a:ext uri="{FF2B5EF4-FFF2-40B4-BE49-F238E27FC236}">
                <a16:creationId xmlns:a16="http://schemas.microsoft.com/office/drawing/2014/main" id="{D170E67E-9ABC-2D4F-937D-3CD77FBD4A1D}"/>
              </a:ext>
            </a:extLst>
          </p:cNvPr>
          <p:cNvGrpSpPr/>
          <p:nvPr userDrawn="1"/>
        </p:nvGrpSpPr>
        <p:grpSpPr>
          <a:xfrm>
            <a:off x="2083685" y="1472638"/>
            <a:ext cx="9032531" cy="545786"/>
            <a:chOff x="2033714" y="1472638"/>
            <a:chExt cx="9033707" cy="545786"/>
          </a:xfrm>
        </p:grpSpPr>
        <p:sp>
          <p:nvSpPr>
            <p:cNvPr id="11" name="Content Placeholder 7">
              <a:extLst>
                <a:ext uri="{FF2B5EF4-FFF2-40B4-BE49-F238E27FC236}">
                  <a16:creationId xmlns:a16="http://schemas.microsoft.com/office/drawing/2014/main" id="{24B5BAB3-15B5-8644-B023-9811CD87B122}"/>
                </a:ext>
              </a:extLst>
            </p:cNvPr>
            <p:cNvSpPr txBox="1">
              <a:spLocks/>
            </p:cNvSpPr>
            <p:nvPr/>
          </p:nvSpPr>
          <p:spPr>
            <a:xfrm>
              <a:off x="2033714" y="1472638"/>
              <a:ext cx="9033707" cy="545786"/>
            </a:xfrm>
            <a:prstGeom prst="rect">
              <a:avLst/>
            </a:prstGeom>
          </p:spPr>
          <p:txBody>
            <a:bodyPr vert="horz" lIns="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Helvetica" pitchFamily="2" charset="0"/>
                <a:buChar char="―"/>
                <a:defRPr sz="20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Courier New" panose="02070309020205020404" pitchFamily="49" charset="0"/>
                <a:buChar char="o"/>
                <a:defRPr sz="18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Arial" panose="020B0604020202020204" pitchFamily="34" charset="0"/>
                  <a:cs typeface="Arial" panose="020B0604020202020204" pitchFamily="34" charset="0"/>
                </a:rPr>
                <a:t>Table</a:t>
              </a:r>
            </a:p>
          </p:txBody>
        </p:sp>
        <p:cxnSp>
          <p:nvCxnSpPr>
            <p:cNvPr id="12" name="Straight Connector 11">
              <a:extLst>
                <a:ext uri="{FF2B5EF4-FFF2-40B4-BE49-F238E27FC236}">
                  <a16:creationId xmlns:a16="http://schemas.microsoft.com/office/drawing/2014/main" id="{E9006CA3-C958-8548-A9BA-119C6D4F859B}"/>
                </a:ext>
              </a:extLst>
            </p:cNvPr>
            <p:cNvCxnSpPr>
              <a:cxnSpLocks/>
            </p:cNvCxnSpPr>
            <p:nvPr/>
          </p:nvCxnSpPr>
          <p:spPr>
            <a:xfrm>
              <a:off x="2033714" y="1899138"/>
              <a:ext cx="7201210" cy="0"/>
            </a:xfrm>
            <a:prstGeom prst="line">
              <a:avLst/>
            </a:prstGeom>
            <a:ln w="1905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306234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6388CBA-B1E9-5943-8F4A-6BE859EC9CDD}"/>
              </a:ext>
            </a:extLst>
          </p:cNvPr>
          <p:cNvSpPr>
            <a:spLocks noGrp="1"/>
          </p:cNvSpPr>
          <p:nvPr>
            <p:ph idx="1"/>
          </p:nvPr>
        </p:nvSpPr>
        <p:spPr>
          <a:xfrm>
            <a:off x="5012853" y="1864282"/>
            <a:ext cx="6171397" cy="3685729"/>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43AF3F6E-6154-1045-826E-39C332920FBA}"/>
              </a:ext>
            </a:extLst>
          </p:cNvPr>
          <p:cNvSpPr>
            <a:spLocks noGrp="1"/>
          </p:cNvSpPr>
          <p:nvPr>
            <p:ph type="dt" sz="half" idx="10"/>
          </p:nvPr>
        </p:nvSpPr>
        <p:spPr/>
        <p:txBody>
          <a:bodyPr/>
          <a:lstStyle/>
          <a:p>
            <a:fld id="{E5644ACD-FC73-5041-B59E-8E665B5F2471}" type="datetime1">
              <a:rPr lang="en-US" smtClean="0"/>
              <a:t>6/7/2024</a:t>
            </a:fld>
            <a:endParaRPr lang="en-US" dirty="0"/>
          </a:p>
        </p:txBody>
      </p:sp>
      <p:sp>
        <p:nvSpPr>
          <p:cNvPr id="6" name="Footer Placeholder 5">
            <a:extLst>
              <a:ext uri="{FF2B5EF4-FFF2-40B4-BE49-F238E27FC236}">
                <a16:creationId xmlns:a16="http://schemas.microsoft.com/office/drawing/2014/main" id="{413AA38A-A203-E844-9D1B-2248DDE1C82E}"/>
              </a:ext>
            </a:extLst>
          </p:cNvPr>
          <p:cNvSpPr>
            <a:spLocks noGrp="1"/>
          </p:cNvSpPr>
          <p:nvPr>
            <p:ph type="ftr" sz="quarter" idx="11"/>
          </p:nvPr>
        </p:nvSpPr>
        <p:spPr/>
        <p:txBody>
          <a:bodyPr/>
          <a:lstStyle/>
          <a:p>
            <a:r>
              <a:rPr lang="en-US" dirty="0"/>
              <a:t>FOR INTERNAL USE ONLY</a:t>
            </a:r>
          </a:p>
        </p:txBody>
      </p:sp>
      <p:sp>
        <p:nvSpPr>
          <p:cNvPr id="7" name="Slide Number Placeholder 6">
            <a:extLst>
              <a:ext uri="{FF2B5EF4-FFF2-40B4-BE49-F238E27FC236}">
                <a16:creationId xmlns:a16="http://schemas.microsoft.com/office/drawing/2014/main" id="{C9A11E2F-5213-8D42-97AD-3ADF8E30AE01}"/>
              </a:ext>
            </a:extLst>
          </p:cNvPr>
          <p:cNvSpPr>
            <a:spLocks noGrp="1"/>
          </p:cNvSpPr>
          <p:nvPr>
            <p:ph type="sldNum" sz="quarter" idx="12"/>
          </p:nvPr>
        </p:nvSpPr>
        <p:spPr>
          <a:xfrm>
            <a:off x="121950" y="6397451"/>
            <a:ext cx="394592" cy="324024"/>
          </a:xfrm>
        </p:spPr>
        <p:txBody>
          <a:bodyPr/>
          <a:lstStyle/>
          <a:p>
            <a:fld id="{C0AFECD8-B8AF-5C4E-B306-A0438013ED66}" type="slidenum">
              <a:rPr lang="en-US" smtClean="0"/>
              <a:t>‹#›</a:t>
            </a:fld>
            <a:endParaRPr lang="en-US" dirty="0"/>
          </a:p>
        </p:txBody>
      </p:sp>
      <p:sp>
        <p:nvSpPr>
          <p:cNvPr id="8" name="Title 7">
            <a:extLst>
              <a:ext uri="{FF2B5EF4-FFF2-40B4-BE49-F238E27FC236}">
                <a16:creationId xmlns:a16="http://schemas.microsoft.com/office/drawing/2014/main" id="{5824CEAE-9DE2-124A-916A-B912EA20008E}"/>
              </a:ext>
            </a:extLst>
          </p:cNvPr>
          <p:cNvSpPr>
            <a:spLocks noGrp="1"/>
          </p:cNvSpPr>
          <p:nvPr>
            <p:ph type="title"/>
          </p:nvPr>
        </p:nvSpPr>
        <p:spPr/>
        <p:txBody>
          <a:bodyPr/>
          <a:lstStyle/>
          <a:p>
            <a:r>
              <a:rPr lang="en-US" dirty="0"/>
              <a:t>Click to edit Master title style</a:t>
            </a:r>
          </a:p>
        </p:txBody>
      </p:sp>
      <p:sp>
        <p:nvSpPr>
          <p:cNvPr id="21" name="Title 1">
            <a:extLst>
              <a:ext uri="{FF2B5EF4-FFF2-40B4-BE49-F238E27FC236}">
                <a16:creationId xmlns:a16="http://schemas.microsoft.com/office/drawing/2014/main" id="{C9237C4A-455C-6141-A5F7-EE17FF75CE27}"/>
              </a:ext>
            </a:extLst>
          </p:cNvPr>
          <p:cNvSpPr txBox="1">
            <a:spLocks/>
          </p:cNvSpPr>
          <p:nvPr userDrawn="1"/>
        </p:nvSpPr>
        <p:spPr>
          <a:xfrm>
            <a:off x="839679" y="984079"/>
            <a:ext cx="3931725" cy="1600200"/>
          </a:xfrm>
          <a:prstGeom prst="rect">
            <a:avLst/>
          </a:prstGeom>
        </p:spPr>
        <p:txBody>
          <a:bodyPr vert="horz" lIns="0" tIns="45714" rIns="91428" bIns="45714" rtlCol="0" anchor="b">
            <a:normAutofit/>
          </a:bodyPr>
          <a:lstStyle>
            <a:lvl1pPr algn="l" defTabSz="914400" rtl="0" eaLnBrk="1" latinLnBrk="0" hangingPunct="1">
              <a:lnSpc>
                <a:spcPct val="85000"/>
              </a:lnSpc>
              <a:spcBef>
                <a:spcPct val="0"/>
              </a:spcBef>
              <a:buNone/>
              <a:defRPr sz="2400" b="1" i="0" kern="1200" cap="all" baseline="0">
                <a:solidFill>
                  <a:schemeClr val="tx1"/>
                </a:solidFill>
                <a:latin typeface="Arial" panose="020B0604020202020204" pitchFamily="34" charset="0"/>
                <a:ea typeface="+mj-ea"/>
                <a:cs typeface="Arial" panose="020B0604020202020204" pitchFamily="34" charset="0"/>
              </a:defRPr>
            </a:lvl1pPr>
          </a:lstStyle>
          <a:p>
            <a:endParaRPr lang="en-US" sz="2400" dirty="0"/>
          </a:p>
        </p:txBody>
      </p:sp>
      <p:sp>
        <p:nvSpPr>
          <p:cNvPr id="24" name="Text Placeholder 14">
            <a:extLst>
              <a:ext uri="{FF2B5EF4-FFF2-40B4-BE49-F238E27FC236}">
                <a16:creationId xmlns:a16="http://schemas.microsoft.com/office/drawing/2014/main" id="{AA6D7610-CBFE-1746-914B-FC52DCFF0931}"/>
              </a:ext>
            </a:extLst>
          </p:cNvPr>
          <p:cNvSpPr>
            <a:spLocks noGrp="1"/>
          </p:cNvSpPr>
          <p:nvPr>
            <p:ph type="body" sz="quarter" idx="13"/>
          </p:nvPr>
        </p:nvSpPr>
        <p:spPr>
          <a:xfrm>
            <a:off x="838091" y="1925036"/>
            <a:ext cx="3933313" cy="1458912"/>
          </a:xfrm>
        </p:spPr>
        <p:txBody>
          <a:bodyPr anchor="t"/>
          <a:lstStyle>
            <a:lvl1pPr marL="0" indent="0">
              <a:buNone/>
              <a:defRPr b="1" cap="all" baseline="0"/>
            </a:lvl1pPr>
          </a:lstStyle>
          <a:p>
            <a:pPr lvl="0"/>
            <a:r>
              <a:rPr lang="en-US" dirty="0"/>
              <a:t>Edit Master text styles</a:t>
            </a:r>
          </a:p>
        </p:txBody>
      </p:sp>
    </p:spTree>
    <p:extLst>
      <p:ext uri="{BB962C8B-B14F-4D97-AF65-F5344CB8AC3E}">
        <p14:creationId xmlns:p14="http://schemas.microsoft.com/office/powerpoint/2010/main" val="18135009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DA34716-9CB5-0B46-9BC2-9833CC8B7744}"/>
              </a:ext>
            </a:extLst>
          </p:cNvPr>
          <p:cNvSpPr>
            <a:spLocks noGrp="1"/>
          </p:cNvSpPr>
          <p:nvPr>
            <p:ph type="pic" idx="1"/>
          </p:nvPr>
        </p:nvSpPr>
        <p:spPr>
          <a:xfrm>
            <a:off x="5182513" y="1494846"/>
            <a:ext cx="6171397" cy="3912042"/>
          </a:xfrm>
        </p:spPr>
        <p:txBody>
          <a:bodyPr anchor="ctr"/>
          <a:lstStyle>
            <a:lvl1pPr marL="0" indent="0" algn="ctr">
              <a:buNone/>
              <a:defRPr sz="3200"/>
            </a:lvl1pPr>
            <a:lvl2pPr marL="457154" indent="0">
              <a:buNone/>
              <a:defRPr sz="2800"/>
            </a:lvl2pPr>
            <a:lvl3pPr marL="914309" indent="0">
              <a:buNone/>
              <a:defRPr sz="2400"/>
            </a:lvl3pPr>
            <a:lvl4pPr marL="1371463" indent="0">
              <a:buNone/>
              <a:defRPr sz="2000"/>
            </a:lvl4pPr>
            <a:lvl5pPr marL="1828617" indent="0">
              <a:buNone/>
              <a:defRPr sz="2000"/>
            </a:lvl5pPr>
            <a:lvl6pPr marL="2285771" indent="0">
              <a:buNone/>
              <a:defRPr sz="2000"/>
            </a:lvl6pPr>
            <a:lvl7pPr marL="2742926" indent="0">
              <a:buNone/>
              <a:defRPr sz="2000"/>
            </a:lvl7pPr>
            <a:lvl8pPr marL="3200080" indent="0">
              <a:buNone/>
              <a:defRPr sz="2000"/>
            </a:lvl8pPr>
            <a:lvl9pPr marL="3657234" indent="0">
              <a:buNone/>
              <a:defRPr sz="2000"/>
            </a:lvl9pPr>
          </a:lstStyle>
          <a:p>
            <a:endParaRPr lang="en-US" dirty="0"/>
          </a:p>
        </p:txBody>
      </p:sp>
      <p:sp>
        <p:nvSpPr>
          <p:cNvPr id="4" name="Text Placeholder 3">
            <a:extLst>
              <a:ext uri="{FF2B5EF4-FFF2-40B4-BE49-F238E27FC236}">
                <a16:creationId xmlns:a16="http://schemas.microsoft.com/office/drawing/2014/main" id="{D256B722-8619-394F-8953-EEAE4672EF93}"/>
              </a:ext>
            </a:extLst>
          </p:cNvPr>
          <p:cNvSpPr>
            <a:spLocks noGrp="1"/>
          </p:cNvSpPr>
          <p:nvPr>
            <p:ph type="body" sz="half" idx="2"/>
          </p:nvPr>
        </p:nvSpPr>
        <p:spPr>
          <a:xfrm>
            <a:off x="839679" y="3440927"/>
            <a:ext cx="3931725" cy="1965960"/>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en-US" dirty="0"/>
              <a:t>Edit Master text styles</a:t>
            </a:r>
          </a:p>
        </p:txBody>
      </p:sp>
      <p:sp>
        <p:nvSpPr>
          <p:cNvPr id="5" name="Date Placeholder 4">
            <a:extLst>
              <a:ext uri="{FF2B5EF4-FFF2-40B4-BE49-F238E27FC236}">
                <a16:creationId xmlns:a16="http://schemas.microsoft.com/office/drawing/2014/main" id="{D336B82E-341C-9D49-BE66-C1B30D426E99}"/>
              </a:ext>
            </a:extLst>
          </p:cNvPr>
          <p:cNvSpPr>
            <a:spLocks noGrp="1"/>
          </p:cNvSpPr>
          <p:nvPr>
            <p:ph type="dt" sz="half" idx="10"/>
          </p:nvPr>
        </p:nvSpPr>
        <p:spPr/>
        <p:txBody>
          <a:bodyPr/>
          <a:lstStyle/>
          <a:p>
            <a:fld id="{4F38CF7B-2017-C642-A9EE-8A02B9085AE7}" type="datetime1">
              <a:rPr lang="en-US" smtClean="0"/>
              <a:t>6/7/2024</a:t>
            </a:fld>
            <a:endParaRPr lang="en-US" dirty="0"/>
          </a:p>
        </p:txBody>
      </p:sp>
      <p:sp>
        <p:nvSpPr>
          <p:cNvPr id="6" name="Footer Placeholder 5">
            <a:extLst>
              <a:ext uri="{FF2B5EF4-FFF2-40B4-BE49-F238E27FC236}">
                <a16:creationId xmlns:a16="http://schemas.microsoft.com/office/drawing/2014/main" id="{A0E584CC-6AF3-BA45-A758-AE9107A981C1}"/>
              </a:ext>
            </a:extLst>
          </p:cNvPr>
          <p:cNvSpPr>
            <a:spLocks noGrp="1"/>
          </p:cNvSpPr>
          <p:nvPr>
            <p:ph type="ftr" sz="quarter" idx="11"/>
          </p:nvPr>
        </p:nvSpPr>
        <p:spPr/>
        <p:txBody>
          <a:bodyPr/>
          <a:lstStyle/>
          <a:p>
            <a:r>
              <a:rPr lang="en-US" dirty="0"/>
              <a:t>FOR INTERNAL USE ONLY</a:t>
            </a:r>
          </a:p>
        </p:txBody>
      </p:sp>
      <p:sp>
        <p:nvSpPr>
          <p:cNvPr id="7" name="Slide Number Placeholder 6">
            <a:extLst>
              <a:ext uri="{FF2B5EF4-FFF2-40B4-BE49-F238E27FC236}">
                <a16:creationId xmlns:a16="http://schemas.microsoft.com/office/drawing/2014/main" id="{E3885300-3194-3D44-A000-58B58BCB1808}"/>
              </a:ext>
            </a:extLst>
          </p:cNvPr>
          <p:cNvSpPr>
            <a:spLocks noGrp="1"/>
          </p:cNvSpPr>
          <p:nvPr>
            <p:ph type="sldNum" sz="quarter" idx="12"/>
          </p:nvPr>
        </p:nvSpPr>
        <p:spPr/>
        <p:txBody>
          <a:bodyPr/>
          <a:lstStyle/>
          <a:p>
            <a:fld id="{C0AFECD8-B8AF-5C4E-B306-A0438013ED66}" type="slidenum">
              <a:rPr lang="en-US" smtClean="0"/>
              <a:t>‹#›</a:t>
            </a:fld>
            <a:endParaRPr lang="en-US" dirty="0"/>
          </a:p>
        </p:txBody>
      </p:sp>
      <p:sp>
        <p:nvSpPr>
          <p:cNvPr id="12" name="Title 7">
            <a:extLst>
              <a:ext uri="{FF2B5EF4-FFF2-40B4-BE49-F238E27FC236}">
                <a16:creationId xmlns:a16="http://schemas.microsoft.com/office/drawing/2014/main" id="{EB02C3C5-7F6B-694F-8C79-1053069585FF}"/>
              </a:ext>
            </a:extLst>
          </p:cNvPr>
          <p:cNvSpPr>
            <a:spLocks noGrp="1"/>
          </p:cNvSpPr>
          <p:nvPr>
            <p:ph type="title"/>
          </p:nvPr>
        </p:nvSpPr>
        <p:spPr>
          <a:xfrm>
            <a:off x="495235" y="125128"/>
            <a:ext cx="10446833" cy="890872"/>
          </a:xfrm>
        </p:spPr>
        <p:txBody>
          <a:bodyPr/>
          <a:lstStyle/>
          <a:p>
            <a:r>
              <a:rPr lang="en-US" dirty="0"/>
              <a:t>Click to edit Master title style</a:t>
            </a:r>
          </a:p>
        </p:txBody>
      </p:sp>
      <p:sp>
        <p:nvSpPr>
          <p:cNvPr id="15" name="Text Placeholder 14">
            <a:extLst>
              <a:ext uri="{FF2B5EF4-FFF2-40B4-BE49-F238E27FC236}">
                <a16:creationId xmlns:a16="http://schemas.microsoft.com/office/drawing/2014/main" id="{DE1A07E2-D097-A748-A2EB-77F8BD794721}"/>
              </a:ext>
            </a:extLst>
          </p:cNvPr>
          <p:cNvSpPr>
            <a:spLocks noGrp="1"/>
          </p:cNvSpPr>
          <p:nvPr>
            <p:ph type="body" sz="quarter" idx="13"/>
          </p:nvPr>
        </p:nvSpPr>
        <p:spPr>
          <a:xfrm>
            <a:off x="838091" y="1925036"/>
            <a:ext cx="3933313" cy="1458912"/>
          </a:xfrm>
        </p:spPr>
        <p:txBody>
          <a:bodyPr anchor="b"/>
          <a:lstStyle>
            <a:lvl1pPr marL="0" indent="0">
              <a:buNone/>
              <a:defRPr b="1" cap="all" baseline="0"/>
            </a:lvl1pPr>
          </a:lstStyle>
          <a:p>
            <a:pPr lvl="0"/>
            <a:r>
              <a:rPr lang="en-US" dirty="0"/>
              <a:t>Edit Master text styles</a:t>
            </a:r>
          </a:p>
        </p:txBody>
      </p:sp>
    </p:spTree>
    <p:extLst>
      <p:ext uri="{BB962C8B-B14F-4D97-AF65-F5344CB8AC3E}">
        <p14:creationId xmlns:p14="http://schemas.microsoft.com/office/powerpoint/2010/main" val="2473143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ext no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3284" y="187691"/>
            <a:ext cx="10798460" cy="782031"/>
          </a:xfrm>
        </p:spPr>
        <p:txBody>
          <a:bodyPr/>
          <a:lstStyle>
            <a:lvl1pPr>
              <a:defRPr/>
            </a:lvl1pPr>
          </a:lstStyle>
          <a:p>
            <a:r>
              <a:rPr lang="de-DE"/>
              <a:t>Mastertitelformat bearbeiten</a:t>
            </a:r>
            <a:endParaRPr lang="en-US"/>
          </a:p>
        </p:txBody>
      </p:sp>
      <p:sp>
        <p:nvSpPr>
          <p:cNvPr id="11" name="Text Placeholder 10"/>
          <p:cNvSpPr>
            <a:spLocks noGrp="1"/>
          </p:cNvSpPr>
          <p:nvPr>
            <p:ph type="body" sz="quarter" idx="14"/>
          </p:nvPr>
        </p:nvSpPr>
        <p:spPr bwMode="gray">
          <a:xfrm>
            <a:off x="490403" y="1295401"/>
            <a:ext cx="11192112" cy="49911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a:extLst>
              <a:ext uri="{FF2B5EF4-FFF2-40B4-BE49-F238E27FC236}">
                <a16:creationId xmlns:a16="http://schemas.microsoft.com/office/drawing/2014/main" id="{E2C54F63-F91E-4FB9-B337-0BF43F37959B}"/>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93263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802" y="1122363"/>
            <a:ext cx="9142810" cy="2387600"/>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523802" y="3602038"/>
            <a:ext cx="9142810" cy="1655762"/>
          </a:xfrm>
        </p:spPr>
        <p:txBody>
          <a:bodyPr/>
          <a:lstStyle>
            <a:lvl1pPr marL="0" indent="0" algn="ctr">
              <a:buNone/>
              <a:defRPr sz="2400"/>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4E4D992-CF52-4611-B45D-0EC950D0D631}" type="datetimeFigureOut">
              <a:rPr lang="en-US" smtClean="0"/>
              <a:t>6/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9E73CC-E55D-494F-9A9F-5CD3573F4A61}" type="slidenum">
              <a:rPr lang="en-US" smtClean="0"/>
              <a:t>‹#›</a:t>
            </a:fld>
            <a:endParaRPr lang="en-US"/>
          </a:p>
        </p:txBody>
      </p:sp>
    </p:spTree>
    <p:extLst>
      <p:ext uri="{BB962C8B-B14F-4D97-AF65-F5344CB8AC3E}">
        <p14:creationId xmlns:p14="http://schemas.microsoft.com/office/powerpoint/2010/main" val="29555491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4E4D992-CF52-4611-B45D-0EC950D0D631}" type="datetimeFigureOut">
              <a:rPr lang="en-US" smtClean="0"/>
              <a:t>6/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9E73CC-E55D-494F-9A9F-5CD3573F4A61}" type="slidenum">
              <a:rPr lang="en-US" smtClean="0"/>
              <a:t>‹#›</a:t>
            </a:fld>
            <a:endParaRPr lang="en-US"/>
          </a:p>
        </p:txBody>
      </p:sp>
    </p:spTree>
    <p:extLst>
      <p:ext uri="{BB962C8B-B14F-4D97-AF65-F5344CB8AC3E}">
        <p14:creationId xmlns:p14="http://schemas.microsoft.com/office/powerpoint/2010/main" val="3768727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742" y="1709739"/>
            <a:ext cx="10514231"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831742" y="4589464"/>
            <a:ext cx="10514231" cy="1500187"/>
          </a:xfrm>
        </p:spPr>
        <p:txBody>
          <a:bodyPr/>
          <a:lstStyle>
            <a:lvl1pPr marL="0" indent="0">
              <a:buNone/>
              <a:defRPr sz="2400">
                <a:solidFill>
                  <a:schemeClr val="tx1">
                    <a:tint val="75000"/>
                  </a:schemeClr>
                </a:solidFill>
              </a:defRPr>
            </a:lvl1pPr>
            <a:lvl2pPr marL="457154" indent="0">
              <a:buNone/>
              <a:defRPr sz="2000">
                <a:solidFill>
                  <a:schemeClr val="tx1">
                    <a:tint val="75000"/>
                  </a:schemeClr>
                </a:solidFill>
              </a:defRPr>
            </a:lvl2pPr>
            <a:lvl3pPr marL="914309" indent="0">
              <a:buNone/>
              <a:defRPr sz="1800">
                <a:solidFill>
                  <a:schemeClr val="tx1">
                    <a:tint val="75000"/>
                  </a:schemeClr>
                </a:solidFill>
              </a:defRPr>
            </a:lvl3pPr>
            <a:lvl4pPr marL="1371463" indent="0">
              <a:buNone/>
              <a:defRPr sz="1600">
                <a:solidFill>
                  <a:schemeClr val="tx1">
                    <a:tint val="75000"/>
                  </a:schemeClr>
                </a:solidFill>
              </a:defRPr>
            </a:lvl4pPr>
            <a:lvl5pPr marL="1828617" indent="0">
              <a:buNone/>
              <a:defRPr sz="1600">
                <a:solidFill>
                  <a:schemeClr val="tx1">
                    <a:tint val="75000"/>
                  </a:schemeClr>
                </a:solidFill>
              </a:defRPr>
            </a:lvl5pPr>
            <a:lvl6pPr marL="2285771" indent="0">
              <a:buNone/>
              <a:defRPr sz="1600">
                <a:solidFill>
                  <a:schemeClr val="tx1">
                    <a:tint val="75000"/>
                  </a:schemeClr>
                </a:solidFill>
              </a:defRPr>
            </a:lvl6pPr>
            <a:lvl7pPr marL="2742926" indent="0">
              <a:buNone/>
              <a:defRPr sz="1600">
                <a:solidFill>
                  <a:schemeClr val="tx1">
                    <a:tint val="75000"/>
                  </a:schemeClr>
                </a:solidFill>
              </a:defRPr>
            </a:lvl7pPr>
            <a:lvl8pPr marL="3200080" indent="0">
              <a:buNone/>
              <a:defRPr sz="1600">
                <a:solidFill>
                  <a:schemeClr val="tx1">
                    <a:tint val="75000"/>
                  </a:schemeClr>
                </a:solidFill>
              </a:defRPr>
            </a:lvl8pPr>
            <a:lvl9pPr marL="365723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4E4D992-CF52-4611-B45D-0EC950D0D631}" type="datetimeFigureOut">
              <a:rPr lang="en-US" smtClean="0"/>
              <a:t>6/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9E73CC-E55D-494F-9A9F-5CD3573F4A61}" type="slidenum">
              <a:rPr lang="en-US" smtClean="0"/>
              <a:t>‹#›</a:t>
            </a:fld>
            <a:endParaRPr lang="en-US"/>
          </a:p>
        </p:txBody>
      </p:sp>
    </p:spTree>
    <p:extLst>
      <p:ext uri="{BB962C8B-B14F-4D97-AF65-F5344CB8AC3E}">
        <p14:creationId xmlns:p14="http://schemas.microsoft.com/office/powerpoint/2010/main" val="35173495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2 panels">
    <p:spTree>
      <p:nvGrpSpPr>
        <p:cNvPr id="1" name=""/>
        <p:cNvGrpSpPr/>
        <p:nvPr/>
      </p:nvGrpSpPr>
      <p:grpSpPr>
        <a:xfrm>
          <a:off x="0" y="0"/>
          <a:ext cx="0" cy="0"/>
          <a:chOff x="0" y="0"/>
          <a:chExt cx="0" cy="0"/>
        </a:xfrm>
      </p:grpSpPr>
      <p:sp>
        <p:nvSpPr>
          <p:cNvPr id="3" name="Content Placeholder 2"/>
          <p:cNvSpPr>
            <a:spLocks noGrp="1"/>
          </p:cNvSpPr>
          <p:nvPr>
            <p:ph idx="1"/>
          </p:nvPr>
        </p:nvSpPr>
        <p:spPr>
          <a:xfrm>
            <a:off x="507934" y="1457960"/>
            <a:ext cx="5352173" cy="4663440"/>
          </a:xfrm>
          <a:prstGeom prst="rect">
            <a:avLst/>
          </a:prstGeom>
        </p:spPr>
        <p:txBody>
          <a:bodyPr/>
          <a:lstStyle>
            <a:lvl1pPr>
              <a:defRPr sz="1866"/>
            </a:lvl1pPr>
            <a:lvl2pPr>
              <a:defRPr sz="1866"/>
            </a:lvl2pPr>
            <a:lvl3pPr>
              <a:defRPr sz="1200"/>
            </a:lvl3pPr>
            <a:lvl4pPr>
              <a:defRPr sz="1051"/>
            </a:lvl4pPr>
            <a:lvl5pPr marL="1219078" indent="-228577">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a:t>CLICK TO EDIT MASTER TITLE STYLE</a:t>
            </a:r>
          </a:p>
        </p:txBody>
      </p:sp>
      <p:sp>
        <p:nvSpPr>
          <p:cNvPr id="7" name="Text Placeholder 11">
            <a:extLst>
              <a:ext uri="{FF2B5EF4-FFF2-40B4-BE49-F238E27FC236}">
                <a16:creationId xmlns:a16="http://schemas.microsoft.com/office/drawing/2014/main" id="{A4B4A63B-D66E-4366-A520-A90FEFCAD3B2}"/>
              </a:ext>
            </a:extLst>
          </p:cNvPr>
          <p:cNvSpPr>
            <a:spLocks noGrp="1"/>
          </p:cNvSpPr>
          <p:nvPr>
            <p:ph type="body" sz="quarter" idx="10" hasCustomPrompt="1"/>
          </p:nvPr>
        </p:nvSpPr>
        <p:spPr>
          <a:xfrm>
            <a:off x="507934" y="6121399"/>
            <a:ext cx="8970235" cy="375196"/>
          </a:xfrm>
          <a:noFill/>
        </p:spPr>
        <p:txBody>
          <a:bodyPr wrap="square" lIns="0" tIns="0" bIns="0" rtlCol="0" anchor="t">
            <a:noAutofit/>
          </a:bodyPr>
          <a:lstStyle>
            <a:lvl1pPr marL="0" indent="0">
              <a:spcBef>
                <a:spcPts val="100"/>
              </a:spcBef>
              <a:buFontTx/>
              <a:buNone/>
              <a:defRPr lang="en-US" sz="933" dirty="0">
                <a:solidFill>
                  <a:schemeClr val="bg1"/>
                </a:solidFill>
              </a:defRPr>
            </a:lvl1pPr>
          </a:lstStyle>
          <a:p>
            <a:pPr lvl="0" fontAlgn="base">
              <a:spcBef>
                <a:spcPct val="0"/>
              </a:spcBef>
              <a:spcAft>
                <a:spcPct val="0"/>
              </a:spcAft>
            </a:pPr>
            <a:r>
              <a:rPr lang="en-US"/>
              <a:t>Click to edit Master text styles</a:t>
            </a:r>
          </a:p>
        </p:txBody>
      </p:sp>
      <p:sp>
        <p:nvSpPr>
          <p:cNvPr id="5" name="Content Placeholder 2">
            <a:extLst>
              <a:ext uri="{FF2B5EF4-FFF2-40B4-BE49-F238E27FC236}">
                <a16:creationId xmlns:a16="http://schemas.microsoft.com/office/drawing/2014/main" id="{66094C74-B6AE-4A14-8ECF-39594ACB9469}"/>
              </a:ext>
            </a:extLst>
          </p:cNvPr>
          <p:cNvSpPr>
            <a:spLocks noGrp="1"/>
          </p:cNvSpPr>
          <p:nvPr>
            <p:ph idx="11"/>
          </p:nvPr>
        </p:nvSpPr>
        <p:spPr>
          <a:xfrm>
            <a:off x="6307097" y="1457960"/>
            <a:ext cx="5352173" cy="4663440"/>
          </a:xfrm>
          <a:prstGeom prst="rect">
            <a:avLst/>
          </a:prstGeom>
        </p:spPr>
        <p:txBody>
          <a:bodyPr/>
          <a:lstStyle>
            <a:lvl1pPr>
              <a:defRPr sz="1866"/>
            </a:lvl1pPr>
            <a:lvl2pPr>
              <a:defRPr sz="1866"/>
            </a:lvl2pPr>
            <a:lvl3pPr>
              <a:defRPr sz="1200"/>
            </a:lvl3pPr>
            <a:lvl4pPr>
              <a:defRPr sz="1051"/>
            </a:lvl4pPr>
            <a:lvl5pPr marL="1219078" indent="-228577">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72813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091" y="1825625"/>
            <a:ext cx="518092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1396" y="1825625"/>
            <a:ext cx="518092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4E4D992-CF52-4611-B45D-0EC950D0D631}" type="datetimeFigureOut">
              <a:rPr lang="en-US" smtClean="0"/>
              <a:t>6/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9E73CC-E55D-494F-9A9F-5CD3573F4A61}" type="slidenum">
              <a:rPr lang="en-US" smtClean="0"/>
              <a:t>‹#›</a:t>
            </a:fld>
            <a:endParaRPr lang="en-US"/>
          </a:p>
        </p:txBody>
      </p:sp>
    </p:spTree>
    <p:extLst>
      <p:ext uri="{BB962C8B-B14F-4D97-AF65-F5344CB8AC3E}">
        <p14:creationId xmlns:p14="http://schemas.microsoft.com/office/powerpoint/2010/main" val="14838237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679" y="365126"/>
            <a:ext cx="10514231"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679" y="1681163"/>
            <a:ext cx="5157116" cy="823912"/>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679" y="2505075"/>
            <a:ext cx="515711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1397" y="1681163"/>
            <a:ext cx="5182513" cy="823912"/>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1397" y="2505075"/>
            <a:ext cx="5182513"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4E4D992-CF52-4611-B45D-0EC950D0D631}" type="datetimeFigureOut">
              <a:rPr lang="en-US" smtClean="0"/>
              <a:t>6/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99E73CC-E55D-494F-9A9F-5CD3573F4A61}" type="slidenum">
              <a:rPr lang="en-US" smtClean="0"/>
              <a:t>‹#›</a:t>
            </a:fld>
            <a:endParaRPr lang="en-US"/>
          </a:p>
        </p:txBody>
      </p:sp>
    </p:spTree>
    <p:extLst>
      <p:ext uri="{BB962C8B-B14F-4D97-AF65-F5344CB8AC3E}">
        <p14:creationId xmlns:p14="http://schemas.microsoft.com/office/powerpoint/2010/main" val="11749731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4E4D992-CF52-4611-B45D-0EC950D0D631}" type="datetimeFigureOut">
              <a:rPr lang="en-US" smtClean="0"/>
              <a:t>6/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99E73CC-E55D-494F-9A9F-5CD3573F4A61}" type="slidenum">
              <a:rPr lang="en-US" smtClean="0"/>
              <a:t>‹#›</a:t>
            </a:fld>
            <a:endParaRPr lang="en-US"/>
          </a:p>
        </p:txBody>
      </p:sp>
    </p:spTree>
    <p:extLst>
      <p:ext uri="{BB962C8B-B14F-4D97-AF65-F5344CB8AC3E}">
        <p14:creationId xmlns:p14="http://schemas.microsoft.com/office/powerpoint/2010/main" val="15059377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E4D992-CF52-4611-B45D-0EC950D0D631}" type="datetimeFigureOut">
              <a:rPr lang="en-US" smtClean="0"/>
              <a:t>6/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99E73CC-E55D-494F-9A9F-5CD3573F4A61}" type="slidenum">
              <a:rPr lang="en-US" smtClean="0"/>
              <a:t>‹#›</a:t>
            </a:fld>
            <a:endParaRPr lang="en-US"/>
          </a:p>
        </p:txBody>
      </p:sp>
    </p:spTree>
    <p:extLst>
      <p:ext uri="{BB962C8B-B14F-4D97-AF65-F5344CB8AC3E}">
        <p14:creationId xmlns:p14="http://schemas.microsoft.com/office/powerpoint/2010/main" val="13150936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679" y="457200"/>
            <a:ext cx="3931725"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2513" y="987426"/>
            <a:ext cx="6171397"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679" y="2057400"/>
            <a:ext cx="3931725" cy="3811588"/>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4E4D992-CF52-4611-B45D-0EC950D0D631}" type="datetimeFigureOut">
              <a:rPr lang="en-US" smtClean="0"/>
              <a:t>6/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9E73CC-E55D-494F-9A9F-5CD3573F4A61}" type="slidenum">
              <a:rPr lang="en-US" smtClean="0"/>
              <a:t>‹#›</a:t>
            </a:fld>
            <a:endParaRPr lang="en-US"/>
          </a:p>
        </p:txBody>
      </p:sp>
    </p:spTree>
    <p:extLst>
      <p:ext uri="{BB962C8B-B14F-4D97-AF65-F5344CB8AC3E}">
        <p14:creationId xmlns:p14="http://schemas.microsoft.com/office/powerpoint/2010/main" val="22058456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679" y="457200"/>
            <a:ext cx="3931725"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2513" y="987426"/>
            <a:ext cx="6171397" cy="4873625"/>
          </a:xfrm>
        </p:spPr>
        <p:txBody>
          <a:bodyPr anchor="t"/>
          <a:lstStyle>
            <a:lvl1pPr marL="0" indent="0">
              <a:buNone/>
              <a:defRPr sz="3200"/>
            </a:lvl1pPr>
            <a:lvl2pPr marL="457154" indent="0">
              <a:buNone/>
              <a:defRPr sz="2800"/>
            </a:lvl2pPr>
            <a:lvl3pPr marL="914309" indent="0">
              <a:buNone/>
              <a:defRPr sz="2400"/>
            </a:lvl3pPr>
            <a:lvl4pPr marL="1371463" indent="0">
              <a:buNone/>
              <a:defRPr sz="2000"/>
            </a:lvl4pPr>
            <a:lvl5pPr marL="1828617" indent="0">
              <a:buNone/>
              <a:defRPr sz="2000"/>
            </a:lvl5pPr>
            <a:lvl6pPr marL="2285771" indent="0">
              <a:buNone/>
              <a:defRPr sz="2000"/>
            </a:lvl6pPr>
            <a:lvl7pPr marL="2742926" indent="0">
              <a:buNone/>
              <a:defRPr sz="2000"/>
            </a:lvl7pPr>
            <a:lvl8pPr marL="3200080" indent="0">
              <a:buNone/>
              <a:defRPr sz="2000"/>
            </a:lvl8pPr>
            <a:lvl9pPr marL="3657234"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679" y="2057400"/>
            <a:ext cx="3931725" cy="3811588"/>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4E4D992-CF52-4611-B45D-0EC950D0D631}" type="datetimeFigureOut">
              <a:rPr lang="en-US" smtClean="0"/>
              <a:t>6/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9E73CC-E55D-494F-9A9F-5CD3573F4A61}" type="slidenum">
              <a:rPr lang="en-US" smtClean="0"/>
              <a:t>‹#›</a:t>
            </a:fld>
            <a:endParaRPr lang="en-US"/>
          </a:p>
        </p:txBody>
      </p:sp>
    </p:spTree>
    <p:extLst>
      <p:ext uri="{BB962C8B-B14F-4D97-AF65-F5344CB8AC3E}">
        <p14:creationId xmlns:p14="http://schemas.microsoft.com/office/powerpoint/2010/main" val="19760434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4E4D992-CF52-4611-B45D-0EC950D0D631}" type="datetimeFigureOut">
              <a:rPr lang="en-US" smtClean="0"/>
              <a:t>6/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9E73CC-E55D-494F-9A9F-5CD3573F4A61}" type="slidenum">
              <a:rPr lang="en-US" smtClean="0"/>
              <a:t>‹#›</a:t>
            </a:fld>
            <a:endParaRPr lang="en-US"/>
          </a:p>
        </p:txBody>
      </p:sp>
    </p:spTree>
    <p:extLst>
      <p:ext uri="{BB962C8B-B14F-4D97-AF65-F5344CB8AC3E}">
        <p14:creationId xmlns:p14="http://schemas.microsoft.com/office/powerpoint/2010/main" val="38715600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3764" y="365125"/>
            <a:ext cx="2628558"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091" y="365125"/>
            <a:ext cx="7733293"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4E4D992-CF52-4611-B45D-0EC950D0D631}" type="datetimeFigureOut">
              <a:rPr lang="en-US" smtClean="0"/>
              <a:t>6/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9E73CC-E55D-494F-9A9F-5CD3573F4A61}" type="slidenum">
              <a:rPr lang="en-US" smtClean="0"/>
              <a:t>‹#›</a:t>
            </a:fld>
            <a:endParaRPr lang="en-US"/>
          </a:p>
        </p:txBody>
      </p:sp>
    </p:spTree>
    <p:extLst>
      <p:ext uri="{BB962C8B-B14F-4D97-AF65-F5344CB8AC3E}">
        <p14:creationId xmlns:p14="http://schemas.microsoft.com/office/powerpoint/2010/main" val="31627919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7935" y="1210365"/>
            <a:ext cx="11072957" cy="4900875"/>
          </a:xfrm>
          <a:prstGeom prst="rect">
            <a:avLst/>
          </a:prstGeom>
        </p:spPr>
        <p:txBody>
          <a:bodyPr/>
          <a:lstStyle>
            <a:lvl1pPr marL="0" indent="0">
              <a:spcBef>
                <a:spcPts val="400"/>
              </a:spcBef>
              <a:buNone/>
              <a:defRPr sz="1866" b="1">
                <a:solidFill>
                  <a:schemeClr val="accent1"/>
                </a:solidFill>
              </a:defRPr>
            </a:lvl1pPr>
            <a:lvl2pPr marL="241276" indent="-241276">
              <a:spcBef>
                <a:spcPts val="400"/>
              </a:spcBef>
              <a:buClr>
                <a:schemeClr val="accent1"/>
              </a:buClr>
              <a:buFont typeface="Arial" panose="020B0604020202020204" pitchFamily="34" charset="0"/>
              <a:buChar char="•"/>
              <a:defRPr sz="1866">
                <a:solidFill>
                  <a:schemeClr val="tx1">
                    <a:lumMod val="75000"/>
                  </a:schemeClr>
                </a:solidFill>
              </a:defRPr>
            </a:lvl2pPr>
            <a:lvl3pPr marL="476203" indent="-247626">
              <a:spcBef>
                <a:spcPts val="400"/>
              </a:spcBef>
              <a:buClr>
                <a:schemeClr val="accent1"/>
              </a:buClr>
              <a:buFont typeface="Arial" panose="020B0604020202020204" pitchFamily="34" charset="0"/>
              <a:buChar char="−"/>
              <a:defRPr sz="1600">
                <a:solidFill>
                  <a:schemeClr val="tx1">
                    <a:lumMod val="75000"/>
                  </a:schemeClr>
                </a:solidFill>
              </a:defRPr>
            </a:lvl3pPr>
            <a:lvl4pPr marL="675150" indent="-217996">
              <a:spcBef>
                <a:spcPts val="400"/>
              </a:spcBef>
              <a:buClr>
                <a:schemeClr val="accent1"/>
              </a:buClr>
              <a:defRPr sz="1400">
                <a:solidFill>
                  <a:schemeClr val="tx1">
                    <a:lumMod val="75000"/>
                  </a:schemeClr>
                </a:solidFill>
              </a:defRPr>
            </a:lvl4pPr>
            <a:lvl5pPr>
              <a:defRPr sz="1051"/>
            </a:lvl5pPr>
            <a:lvl6pPr>
              <a:defRPr sz="1800"/>
            </a:lvl6pPr>
          </a:lstStyle>
          <a:p>
            <a:pPr lvl="0"/>
            <a:r>
              <a:rPr lang="en-US"/>
              <a:t>Sub Head</a:t>
            </a:r>
          </a:p>
          <a:p>
            <a:pPr lvl="1"/>
            <a:r>
              <a:rPr lang="en-US"/>
              <a:t>Click to edit Master text styles</a:t>
            </a:r>
          </a:p>
          <a:p>
            <a:pPr lvl="2"/>
            <a:r>
              <a:rPr lang="en-US"/>
              <a:t>Second level</a:t>
            </a:r>
          </a:p>
          <a:p>
            <a:pPr lvl="3"/>
            <a:r>
              <a:rPr lang="en-US"/>
              <a:t>Third level</a:t>
            </a:r>
          </a:p>
        </p:txBody>
      </p:sp>
      <p:sp>
        <p:nvSpPr>
          <p:cNvPr id="8" name="Text Placeholder 11">
            <a:extLst>
              <a:ext uri="{FF2B5EF4-FFF2-40B4-BE49-F238E27FC236}">
                <a16:creationId xmlns:a16="http://schemas.microsoft.com/office/drawing/2014/main" id="{AC743E14-0D4A-409F-99DD-E15EA2D3AC0C}"/>
              </a:ext>
            </a:extLst>
          </p:cNvPr>
          <p:cNvSpPr>
            <a:spLocks noGrp="1"/>
          </p:cNvSpPr>
          <p:nvPr>
            <p:ph type="body" sz="quarter" idx="10" hasCustomPrompt="1"/>
          </p:nvPr>
        </p:nvSpPr>
        <p:spPr>
          <a:xfrm>
            <a:off x="507934" y="6121399"/>
            <a:ext cx="8970235" cy="377952"/>
          </a:xfrm>
          <a:noFill/>
        </p:spPr>
        <p:txBody>
          <a:bodyPr wrap="square" lIns="0" tIns="0" bIns="0" rtlCol="0" anchor="t">
            <a:noAutofit/>
          </a:bodyPr>
          <a:lstStyle>
            <a:lvl1pPr marL="0" indent="0">
              <a:spcBef>
                <a:spcPts val="100"/>
              </a:spcBef>
              <a:buFontTx/>
              <a:buNone/>
              <a:defRPr lang="en-US" sz="933" dirty="0">
                <a:solidFill>
                  <a:schemeClr val="bg1"/>
                </a:solidFill>
              </a:defRPr>
            </a:lvl1pPr>
          </a:lstStyle>
          <a:p>
            <a:pPr lvl="0" fontAlgn="base">
              <a:spcBef>
                <a:spcPct val="0"/>
              </a:spcBef>
              <a:spcAft>
                <a:spcPct val="0"/>
              </a:spcAft>
            </a:pPr>
            <a:r>
              <a:rPr lang="en-US"/>
              <a:t>Click to edit Master text styles</a:t>
            </a:r>
          </a:p>
        </p:txBody>
      </p:sp>
      <p:sp>
        <p:nvSpPr>
          <p:cNvPr id="6" name="Title 3">
            <a:extLst>
              <a:ext uri="{FF2B5EF4-FFF2-40B4-BE49-F238E27FC236}">
                <a16:creationId xmlns:a16="http://schemas.microsoft.com/office/drawing/2014/main" id="{30C7BDB9-DCDD-439D-9B25-6CC7A993AD50}"/>
              </a:ext>
            </a:extLst>
          </p:cNvPr>
          <p:cNvSpPr>
            <a:spLocks noGrp="1"/>
          </p:cNvSpPr>
          <p:nvPr>
            <p:ph type="title" hasCustomPrompt="1"/>
          </p:nvPr>
        </p:nvSpPr>
        <p:spPr>
          <a:xfrm>
            <a:off x="507934" y="343863"/>
            <a:ext cx="11072958" cy="822960"/>
          </a:xfrm>
        </p:spPr>
        <p:txBody>
          <a:bodyPr/>
          <a:lstStyle/>
          <a:p>
            <a:r>
              <a:rPr lang="en-US"/>
              <a:t>CLICK TO EDIT MASTER TITLE STYLE</a:t>
            </a:r>
          </a:p>
        </p:txBody>
      </p:sp>
    </p:spTree>
    <p:extLst>
      <p:ext uri="{BB962C8B-B14F-4D97-AF65-F5344CB8AC3E}">
        <p14:creationId xmlns:p14="http://schemas.microsoft.com/office/powerpoint/2010/main" val="17066626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3B342140-5D4A-47DD-A7D4-F9C5C875FAF1}"/>
              </a:ext>
            </a:extLst>
          </p:cNvPr>
          <p:cNvSpPr>
            <a:spLocks noGrp="1"/>
          </p:cNvSpPr>
          <p:nvPr>
            <p:ph type="body" sz="quarter" idx="10" hasCustomPrompt="1"/>
          </p:nvPr>
        </p:nvSpPr>
        <p:spPr>
          <a:xfrm>
            <a:off x="507934" y="6121399"/>
            <a:ext cx="8970235" cy="377952"/>
          </a:xfrm>
          <a:noFill/>
        </p:spPr>
        <p:txBody>
          <a:bodyPr wrap="square" lIns="0" tIns="0" bIns="0" rtlCol="0" anchor="t">
            <a:noAutofit/>
          </a:bodyPr>
          <a:lstStyle>
            <a:lvl1pPr marL="0" indent="0">
              <a:spcBef>
                <a:spcPts val="100"/>
              </a:spcBef>
              <a:buFontTx/>
              <a:buNone/>
              <a:defRPr lang="en-US" sz="933" dirty="0">
                <a:solidFill>
                  <a:schemeClr val="bg1"/>
                </a:solidFill>
              </a:defRPr>
            </a:lvl1pPr>
          </a:lstStyle>
          <a:p>
            <a:pPr lvl="0" fontAlgn="base">
              <a:spcBef>
                <a:spcPct val="0"/>
              </a:spcBef>
              <a:spcAft>
                <a:spcPct val="0"/>
              </a:spcAft>
            </a:pPr>
            <a:r>
              <a:rPr lang="en-US"/>
              <a:t>Click to edit Master text styles</a:t>
            </a:r>
          </a:p>
        </p:txBody>
      </p:sp>
      <p:sp>
        <p:nvSpPr>
          <p:cNvPr id="5" name="Title 3">
            <a:extLst>
              <a:ext uri="{FF2B5EF4-FFF2-40B4-BE49-F238E27FC236}">
                <a16:creationId xmlns:a16="http://schemas.microsoft.com/office/drawing/2014/main" id="{23D8E156-9DF2-4E04-808B-4737B2B63772}"/>
              </a:ext>
            </a:extLst>
          </p:cNvPr>
          <p:cNvSpPr>
            <a:spLocks noGrp="1"/>
          </p:cNvSpPr>
          <p:nvPr>
            <p:ph type="title" hasCustomPrompt="1"/>
          </p:nvPr>
        </p:nvSpPr>
        <p:spPr>
          <a:xfrm>
            <a:off x="507934" y="343863"/>
            <a:ext cx="11072958" cy="822960"/>
          </a:xfrm>
        </p:spPr>
        <p:txBody>
          <a:bodyPr/>
          <a:lstStyle/>
          <a:p>
            <a:r>
              <a:rPr lang="en-US"/>
              <a:t>CLICK TO EDIT MASTER TITLE STYLE</a:t>
            </a:r>
          </a:p>
        </p:txBody>
      </p:sp>
    </p:spTree>
    <p:extLst>
      <p:ext uri="{BB962C8B-B14F-4D97-AF65-F5344CB8AC3E}">
        <p14:creationId xmlns:p14="http://schemas.microsoft.com/office/powerpoint/2010/main" val="30037493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without Subheadlin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68D8C519-2D2A-43AF-834C-2E381EC36F8C}"/>
              </a:ext>
            </a:extLst>
          </p:cNvPr>
          <p:cNvSpPr>
            <a:spLocks noGrp="1"/>
          </p:cNvSpPr>
          <p:nvPr>
            <p:ph idx="1"/>
          </p:nvPr>
        </p:nvSpPr>
        <p:spPr>
          <a:xfrm>
            <a:off x="507933" y="1238252"/>
            <a:ext cx="11580894" cy="4831245"/>
          </a:xfrm>
        </p:spPr>
        <p:txBody>
          <a:bodyPr/>
          <a:lstStyle>
            <a:lvl5pPr marL="1138653" indent="-2285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E43E4EB4-20E3-45DE-B871-1DED0386CE1C}"/>
              </a:ext>
            </a:extLst>
          </p:cNvPr>
          <p:cNvSpPr>
            <a:spLocks noGrp="1"/>
          </p:cNvSpPr>
          <p:nvPr>
            <p:ph type="body" sz="quarter" idx="10" hasCustomPrompt="1"/>
          </p:nvPr>
        </p:nvSpPr>
        <p:spPr>
          <a:xfrm>
            <a:off x="507934" y="6121399"/>
            <a:ext cx="8970235" cy="377952"/>
          </a:xfrm>
          <a:noFill/>
        </p:spPr>
        <p:txBody>
          <a:bodyPr wrap="square" lIns="0" tIns="0" bIns="0" rtlCol="0" anchor="t">
            <a:noAutofit/>
          </a:bodyPr>
          <a:lstStyle>
            <a:lvl1pPr marL="0" indent="0">
              <a:spcBef>
                <a:spcPts val="100"/>
              </a:spcBef>
              <a:buFontTx/>
              <a:buNone/>
              <a:defRPr lang="en-US" sz="933" dirty="0">
                <a:solidFill>
                  <a:schemeClr val="bg1"/>
                </a:solidFill>
              </a:defRPr>
            </a:lvl1pPr>
          </a:lstStyle>
          <a:p>
            <a:pPr lvl="0" fontAlgn="base">
              <a:spcBef>
                <a:spcPct val="0"/>
              </a:spcBef>
              <a:spcAft>
                <a:spcPct val="0"/>
              </a:spcAft>
            </a:pPr>
            <a:r>
              <a:rPr lang="en-US"/>
              <a:t>Click to edit Master text styles</a:t>
            </a:r>
          </a:p>
        </p:txBody>
      </p:sp>
      <p:sp>
        <p:nvSpPr>
          <p:cNvPr id="6" name="Title 3">
            <a:extLst>
              <a:ext uri="{FF2B5EF4-FFF2-40B4-BE49-F238E27FC236}">
                <a16:creationId xmlns:a16="http://schemas.microsoft.com/office/drawing/2014/main" id="{ECEF2202-34DB-4FBA-B664-D044B8957B48}"/>
              </a:ext>
            </a:extLst>
          </p:cNvPr>
          <p:cNvSpPr>
            <a:spLocks noGrp="1"/>
          </p:cNvSpPr>
          <p:nvPr>
            <p:ph type="title" hasCustomPrompt="1"/>
          </p:nvPr>
        </p:nvSpPr>
        <p:spPr>
          <a:xfrm>
            <a:off x="507934" y="343863"/>
            <a:ext cx="11072958" cy="822960"/>
          </a:xfrm>
        </p:spPr>
        <p:txBody>
          <a:bodyPr/>
          <a:lstStyle/>
          <a:p>
            <a:r>
              <a:rPr lang="en-US"/>
              <a:t>CLICK TO EDIT MASTER TITLE STYLE</a:t>
            </a:r>
          </a:p>
        </p:txBody>
      </p:sp>
    </p:spTree>
    <p:extLst>
      <p:ext uri="{BB962C8B-B14F-4D97-AF65-F5344CB8AC3E}">
        <p14:creationId xmlns:p14="http://schemas.microsoft.com/office/powerpoint/2010/main" val="41908709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Divider 3">
    <p:bg>
      <p:bgPr>
        <a:solidFill>
          <a:schemeClr val="accent1"/>
        </a:solidFill>
        <a:effectLst/>
      </p:bgPr>
    </p:bg>
    <p:spTree>
      <p:nvGrpSpPr>
        <p:cNvPr id="1" name=""/>
        <p:cNvGrpSpPr/>
        <p:nvPr/>
      </p:nvGrpSpPr>
      <p:grpSpPr>
        <a:xfrm>
          <a:off x="0" y="0"/>
          <a:ext cx="0" cy="0"/>
          <a:chOff x="0" y="0"/>
          <a:chExt cx="0" cy="0"/>
        </a:xfrm>
      </p:grpSpPr>
      <p:sp>
        <p:nvSpPr>
          <p:cNvPr id="3" name="Snip Single Corner Rectangle 2"/>
          <p:cNvSpPr/>
          <p:nvPr/>
        </p:nvSpPr>
        <p:spPr>
          <a:xfrm flipH="1" flipV="1">
            <a:off x="0" y="0"/>
            <a:ext cx="12190413" cy="3429000"/>
          </a:xfrm>
          <a:prstGeom prst="snip1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accent1"/>
              </a:solidFill>
            </a:endParaRPr>
          </a:p>
        </p:txBody>
      </p:sp>
      <p:sp>
        <p:nvSpPr>
          <p:cNvPr id="2" name="Title 1"/>
          <p:cNvSpPr>
            <a:spLocks noGrp="1"/>
          </p:cNvSpPr>
          <p:nvPr>
            <p:ph type="title"/>
          </p:nvPr>
        </p:nvSpPr>
        <p:spPr>
          <a:xfrm>
            <a:off x="1708036" y="668775"/>
            <a:ext cx="10124707" cy="2465328"/>
          </a:xfrm>
          <a:prstGeom prst="rect">
            <a:avLst/>
          </a:prstGeom>
        </p:spPr>
        <p:txBody>
          <a:bodyPr anchor="b" anchorCtr="0">
            <a:noAutofit/>
          </a:bodyPr>
          <a:lstStyle>
            <a:lvl1pPr>
              <a:defRPr sz="4266">
                <a:solidFill>
                  <a:schemeClr val="tx1"/>
                </a:solidFill>
              </a:defRPr>
            </a:lvl1pPr>
          </a:lstStyle>
          <a:p>
            <a:r>
              <a:rPr lang="en-US"/>
              <a:t>Click to edit Master title style</a:t>
            </a:r>
          </a:p>
        </p:txBody>
      </p:sp>
      <p:sp>
        <p:nvSpPr>
          <p:cNvPr id="5" name="Subtitle 2"/>
          <p:cNvSpPr>
            <a:spLocks noGrp="1"/>
          </p:cNvSpPr>
          <p:nvPr>
            <p:ph type="subTitle" idx="1"/>
          </p:nvPr>
        </p:nvSpPr>
        <p:spPr>
          <a:xfrm>
            <a:off x="1721807" y="3700208"/>
            <a:ext cx="9975537" cy="896331"/>
          </a:xfrm>
        </p:spPr>
        <p:txBody>
          <a:bodyPr/>
          <a:lstStyle>
            <a:lvl1pPr marL="0" indent="0" algn="l">
              <a:buNone/>
              <a:defRPr sz="2400">
                <a:solidFill>
                  <a:schemeClr val="bg1"/>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Click to edit Master subtitle style</a:t>
            </a:r>
          </a:p>
        </p:txBody>
      </p:sp>
      <p:grpSp>
        <p:nvGrpSpPr>
          <p:cNvPr id="6" name="Group 5"/>
          <p:cNvGrpSpPr/>
          <p:nvPr/>
        </p:nvGrpSpPr>
        <p:grpSpPr>
          <a:xfrm>
            <a:off x="-8463" y="1715347"/>
            <a:ext cx="12198877" cy="5142653"/>
            <a:chOff x="-6349" y="1286510"/>
            <a:chExt cx="9150349" cy="3856990"/>
          </a:xfrm>
          <a:solidFill>
            <a:schemeClr val="accent1">
              <a:lumMod val="75000"/>
            </a:schemeClr>
          </a:solidFill>
        </p:grpSpPr>
        <p:sp>
          <p:nvSpPr>
            <p:cNvPr id="7" name="Rectangle 6"/>
            <p:cNvSpPr/>
            <p:nvPr userDrawn="1"/>
          </p:nvSpPr>
          <p:spPr>
            <a:xfrm flipV="1">
              <a:off x="8875713" y="2571749"/>
              <a:ext cx="268287" cy="2571751"/>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Rectangle 7"/>
            <p:cNvSpPr/>
            <p:nvPr userDrawn="1"/>
          </p:nvSpPr>
          <p:spPr>
            <a:xfrm>
              <a:off x="1291523" y="2523490"/>
              <a:ext cx="7852477" cy="5206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9" name="Freeform 8"/>
            <p:cNvSpPr/>
            <p:nvPr userDrawn="1"/>
          </p:nvSpPr>
          <p:spPr>
            <a:xfrm>
              <a:off x="-6349" y="1286510"/>
              <a:ext cx="1323340" cy="1289050"/>
            </a:xfrm>
            <a:custGeom>
              <a:avLst/>
              <a:gdLst>
                <a:gd name="connsiteX0" fmla="*/ 0 w 1290320"/>
                <a:gd name="connsiteY0" fmla="*/ 0 h 1295400"/>
                <a:gd name="connsiteX1" fmla="*/ 1290320 w 1290320"/>
                <a:gd name="connsiteY1" fmla="*/ 1295400 h 1295400"/>
                <a:gd name="connsiteX2" fmla="*/ 1285240 w 1290320"/>
                <a:gd name="connsiteY2" fmla="*/ 1239520 h 1295400"/>
                <a:gd name="connsiteX3" fmla="*/ 0 w 1290320"/>
                <a:gd name="connsiteY3" fmla="*/ 0 h 1295400"/>
                <a:gd name="connsiteX0" fmla="*/ 0 w 1290320"/>
                <a:gd name="connsiteY0" fmla="*/ 0 h 1295400"/>
                <a:gd name="connsiteX1" fmla="*/ 1290320 w 1290320"/>
                <a:gd name="connsiteY1" fmla="*/ 1295400 h 1295400"/>
                <a:gd name="connsiteX2" fmla="*/ 1186815 w 1290320"/>
                <a:gd name="connsiteY2" fmla="*/ 1042670 h 1295400"/>
                <a:gd name="connsiteX3" fmla="*/ 0 w 1290320"/>
                <a:gd name="connsiteY3" fmla="*/ 0 h 1295400"/>
                <a:gd name="connsiteX0" fmla="*/ 0 w 1320165"/>
                <a:gd name="connsiteY0" fmla="*/ 0 h 1295400"/>
                <a:gd name="connsiteX1" fmla="*/ 1290320 w 1320165"/>
                <a:gd name="connsiteY1" fmla="*/ 1295400 h 1295400"/>
                <a:gd name="connsiteX2" fmla="*/ 1320165 w 1320165"/>
                <a:gd name="connsiteY2" fmla="*/ 1264920 h 1295400"/>
                <a:gd name="connsiteX3" fmla="*/ 0 w 1320165"/>
                <a:gd name="connsiteY3" fmla="*/ 0 h 1295400"/>
                <a:gd name="connsiteX0" fmla="*/ 0 w 1189990"/>
                <a:gd name="connsiteY0" fmla="*/ 0 h 1349375"/>
                <a:gd name="connsiteX1" fmla="*/ 1160145 w 1189990"/>
                <a:gd name="connsiteY1" fmla="*/ 1349375 h 1349375"/>
                <a:gd name="connsiteX2" fmla="*/ 1189990 w 1189990"/>
                <a:gd name="connsiteY2" fmla="*/ 1318895 h 1349375"/>
                <a:gd name="connsiteX3" fmla="*/ 0 w 1189990"/>
                <a:gd name="connsiteY3" fmla="*/ 0 h 1349375"/>
                <a:gd name="connsiteX0" fmla="*/ 0 w 1329690"/>
                <a:gd name="connsiteY0" fmla="*/ 0 h 1292225"/>
                <a:gd name="connsiteX1" fmla="*/ 1299845 w 1329690"/>
                <a:gd name="connsiteY1" fmla="*/ 1292225 h 1292225"/>
                <a:gd name="connsiteX2" fmla="*/ 1329690 w 1329690"/>
                <a:gd name="connsiteY2" fmla="*/ 1261745 h 1292225"/>
                <a:gd name="connsiteX3" fmla="*/ 0 w 1329690"/>
                <a:gd name="connsiteY3" fmla="*/ 0 h 1292225"/>
                <a:gd name="connsiteX0" fmla="*/ 0 w 1323340"/>
                <a:gd name="connsiteY0" fmla="*/ 0 h 1289050"/>
                <a:gd name="connsiteX1" fmla="*/ 1293495 w 1323340"/>
                <a:gd name="connsiteY1" fmla="*/ 1289050 h 1289050"/>
                <a:gd name="connsiteX2" fmla="*/ 1323340 w 1323340"/>
                <a:gd name="connsiteY2" fmla="*/ 1258570 h 1289050"/>
                <a:gd name="connsiteX3" fmla="*/ 0 w 1323340"/>
                <a:gd name="connsiteY3" fmla="*/ 0 h 1289050"/>
              </a:gdLst>
              <a:ahLst/>
              <a:cxnLst>
                <a:cxn ang="0">
                  <a:pos x="connsiteX0" y="connsiteY0"/>
                </a:cxn>
                <a:cxn ang="0">
                  <a:pos x="connsiteX1" y="connsiteY1"/>
                </a:cxn>
                <a:cxn ang="0">
                  <a:pos x="connsiteX2" y="connsiteY2"/>
                </a:cxn>
                <a:cxn ang="0">
                  <a:pos x="connsiteX3" y="connsiteY3"/>
                </a:cxn>
              </a:cxnLst>
              <a:rect l="l" t="t" r="r" b="b"/>
              <a:pathLst>
                <a:path w="1323340" h="1289050">
                  <a:moveTo>
                    <a:pt x="0" y="0"/>
                  </a:moveTo>
                  <a:lnTo>
                    <a:pt x="1293495" y="1289050"/>
                  </a:lnTo>
                  <a:lnTo>
                    <a:pt x="1323340" y="125857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spTree>
    <p:extLst>
      <p:ext uri="{BB962C8B-B14F-4D97-AF65-F5344CB8AC3E}">
        <p14:creationId xmlns:p14="http://schemas.microsoft.com/office/powerpoint/2010/main" val="27629544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image" Target="../media/image7.png"/><Relationship Id="rId3" Type="http://schemas.openxmlformats.org/officeDocument/2006/relationships/slideLayout" Target="../slideLayouts/slideLayout12.xml"/><Relationship Id="rId21" Type="http://schemas.openxmlformats.org/officeDocument/2006/relationships/image" Target="../media/image10.png"/><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image" Target="../media/image6.png"/><Relationship Id="rId2" Type="http://schemas.openxmlformats.org/officeDocument/2006/relationships/slideLayout" Target="../slideLayouts/slideLayout11.xml"/><Relationship Id="rId16" Type="http://schemas.openxmlformats.org/officeDocument/2006/relationships/image" Target="../media/image5.wmf"/><Relationship Id="rId20"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4.png"/><Relationship Id="rId10" Type="http://schemas.openxmlformats.org/officeDocument/2006/relationships/slideLayout" Target="../slideLayouts/slideLayout19.xml"/><Relationship Id="rId19" Type="http://schemas.openxmlformats.org/officeDocument/2006/relationships/image" Target="../media/image8.png"/><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5.wmf"/><Relationship Id="rId18" Type="http://schemas.openxmlformats.org/officeDocument/2006/relationships/image" Target="../media/image10.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4.png"/><Relationship Id="rId17" Type="http://schemas.openxmlformats.org/officeDocument/2006/relationships/image" Target="../media/image9.png"/><Relationship Id="rId2" Type="http://schemas.openxmlformats.org/officeDocument/2006/relationships/slideLayout" Target="../slideLayouts/slideLayout24.xml"/><Relationship Id="rId16" Type="http://schemas.openxmlformats.org/officeDocument/2006/relationships/image" Target="../media/image8.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5" Type="http://schemas.openxmlformats.org/officeDocument/2006/relationships/image" Target="../media/image7.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9.tif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image" Target="../media/image20.emf"/><Relationship Id="rId2" Type="http://schemas.openxmlformats.org/officeDocument/2006/relationships/slideLayout" Target="../slideLayouts/slideLayout34.xml"/><Relationship Id="rId16" Type="http://schemas.openxmlformats.org/officeDocument/2006/relationships/image" Target="../media/image24.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4.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11" cstate="hqprint">
            <a:extLst>
              <a:ext uri="{28A0092B-C50C-407E-A947-70E740481C1C}">
                <a14:useLocalDpi xmlns:a14="http://schemas.microsoft.com/office/drawing/2010/main"/>
              </a:ext>
            </a:extLst>
          </a:blip>
          <a:srcRect/>
          <a:stretch/>
        </p:blipFill>
        <p:spPr>
          <a:xfrm>
            <a:off x="0" y="6041135"/>
            <a:ext cx="12190413" cy="822960"/>
          </a:xfrm>
          <a:prstGeom prst="rect">
            <a:avLst/>
          </a:prstGeom>
          <a:solidFill>
            <a:schemeClr val="bg1"/>
          </a:solidFill>
        </p:spPr>
      </p:pic>
      <p:sp>
        <p:nvSpPr>
          <p:cNvPr id="2" name="Title Placeholder 1"/>
          <p:cNvSpPr>
            <a:spLocks noGrp="1"/>
          </p:cNvSpPr>
          <p:nvPr>
            <p:ph type="title"/>
          </p:nvPr>
        </p:nvSpPr>
        <p:spPr>
          <a:xfrm>
            <a:off x="507934" y="343863"/>
            <a:ext cx="11072958" cy="822960"/>
          </a:xfrm>
          <a:prstGeom prst="rect">
            <a:avLst/>
          </a:prstGeom>
        </p:spPr>
        <p:txBody>
          <a:bodyPr vert="horz" lIns="0" tIns="0" rIns="0" bIns="0" rtlCol="0" anchor="b">
            <a:noAutofit/>
          </a:bodyPr>
          <a:lstStyle/>
          <a:p>
            <a:pPr lvl="0" defTabSz="914309"/>
            <a:r>
              <a:rPr lang="en-US"/>
              <a:t>CLICK TO EDIT MASTER TITLE STYLE</a:t>
            </a:r>
          </a:p>
        </p:txBody>
      </p:sp>
      <p:sp>
        <p:nvSpPr>
          <p:cNvPr id="3" name="Text Placeholder 2"/>
          <p:cNvSpPr>
            <a:spLocks noGrp="1"/>
          </p:cNvSpPr>
          <p:nvPr>
            <p:ph type="body" idx="1"/>
          </p:nvPr>
        </p:nvSpPr>
        <p:spPr>
          <a:xfrm>
            <a:off x="507933" y="1457777"/>
            <a:ext cx="11072960" cy="4389120"/>
          </a:xfrm>
          <a:prstGeom prst="rect">
            <a:avLst/>
          </a:prstGeom>
        </p:spPr>
        <p:txBody>
          <a:bodyPr vert="horz" lIns="0" tIns="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4"/>
          <p:cNvSpPr txBox="1">
            <a:spLocks/>
          </p:cNvSpPr>
          <p:nvPr userDrawn="1"/>
        </p:nvSpPr>
        <p:spPr>
          <a:xfrm>
            <a:off x="11072004" y="6136640"/>
            <a:ext cx="678624" cy="365125"/>
          </a:xfrm>
          <a:prstGeom prst="rect">
            <a:avLst/>
          </a:prstGeom>
        </p:spPr>
        <p:txBody>
          <a:bodyPr/>
          <a:lstStyle>
            <a:defPPr>
              <a:defRPr lang="en-US"/>
            </a:defPPr>
            <a:lvl1pPr marL="0" algn="l" defTabSz="914400" rtl="0" eaLnBrk="1" latinLnBrk="0" hangingPunct="1">
              <a:defRPr sz="1000" kern="1200">
                <a:solidFill>
                  <a:schemeClr val="bg1"/>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3BE87EF-053B-5944-9830-0D7A367BC86E}" type="slidenum">
              <a:rPr lang="en-US" sz="1333" smtClean="0"/>
              <a:pPr algn="r"/>
              <a:t>‹#›</a:t>
            </a:fld>
            <a:endParaRPr lang="en-US" sz="1333" dirty="0"/>
          </a:p>
        </p:txBody>
      </p:sp>
      <p:sp>
        <p:nvSpPr>
          <p:cNvPr id="22" name="TextBox 21"/>
          <p:cNvSpPr txBox="1"/>
          <p:nvPr userDrawn="1"/>
        </p:nvSpPr>
        <p:spPr>
          <a:xfrm>
            <a:off x="8515945" y="6183889"/>
            <a:ext cx="2646213" cy="455340"/>
          </a:xfrm>
          <a:prstGeom prst="rect">
            <a:avLst/>
          </a:prstGeom>
        </p:spPr>
        <p:txBody>
          <a:bodyPr vert="horz" wrap="square" lIns="0" tIns="0" rIns="0" bIns="0" rtlCol="0">
            <a:normAutofit/>
          </a:bodyPr>
          <a:lstStyle/>
          <a:p>
            <a:pPr marL="0" indent="0" algn="r">
              <a:buNone/>
            </a:pPr>
            <a:r>
              <a:rPr lang="en-US" sz="1600" b="1" dirty="0">
                <a:solidFill>
                  <a:schemeClr val="bg1"/>
                </a:solidFill>
                <a:latin typeface="Arial" charset="0"/>
                <a:ea typeface="Arial" charset="0"/>
                <a:cs typeface="Arial" charset="0"/>
              </a:rPr>
              <a:t>DAROLUTAMIDE</a:t>
            </a:r>
          </a:p>
        </p:txBody>
      </p:sp>
    </p:spTree>
    <p:extLst>
      <p:ext uri="{BB962C8B-B14F-4D97-AF65-F5344CB8AC3E}">
        <p14:creationId xmlns:p14="http://schemas.microsoft.com/office/powerpoint/2010/main" val="2068167789"/>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5" r:id="rId9"/>
  </p:sldLayoutIdLst>
  <p:hf sldNum="0" hdr="0" ftr="0" dt="0"/>
  <p:txStyles>
    <p:titleStyle>
      <a:lvl1pPr algn="l" defTabSz="457154" rtl="0" eaLnBrk="1" latinLnBrk="0" hangingPunct="1">
        <a:lnSpc>
          <a:spcPct val="90000"/>
        </a:lnSpc>
        <a:spcBef>
          <a:spcPct val="0"/>
        </a:spcBef>
        <a:buNone/>
        <a:defRPr lang="en-US" sz="2666" b="1" kern="1200" dirty="0">
          <a:solidFill>
            <a:schemeClr val="accent1"/>
          </a:solidFill>
          <a:effectLst/>
          <a:latin typeface="+mj-lt"/>
          <a:ea typeface="+mj-ea"/>
          <a:cs typeface="+mj-cs"/>
        </a:defRPr>
      </a:lvl1pPr>
    </p:titleStyle>
    <p:bodyStyle>
      <a:lvl1pPr marL="241276" indent="-241276" algn="l" defTabSz="457154" rtl="0" eaLnBrk="1" latinLnBrk="0" hangingPunct="1">
        <a:lnSpc>
          <a:spcPct val="100000"/>
        </a:lnSpc>
        <a:spcBef>
          <a:spcPts val="400"/>
        </a:spcBef>
        <a:spcAft>
          <a:spcPts val="400"/>
        </a:spcAft>
        <a:buClr>
          <a:schemeClr val="accent1"/>
        </a:buClr>
        <a:buFont typeface="Arial"/>
        <a:buChar char="•"/>
        <a:defRPr sz="2133" kern="1200">
          <a:solidFill>
            <a:schemeClr val="tx1">
              <a:lumMod val="75000"/>
            </a:schemeClr>
          </a:solidFill>
          <a:latin typeface="Arial" panose="020B0604020202020204" pitchFamily="34" charset="0"/>
          <a:ea typeface="+mn-ea"/>
          <a:cs typeface="Arial" panose="020B0604020202020204" pitchFamily="34" charset="0"/>
        </a:defRPr>
      </a:lvl1pPr>
      <a:lvl2pPr marL="476203" indent="-247626" algn="l" defTabSz="457154" rtl="0" eaLnBrk="1" latinLnBrk="0" hangingPunct="1">
        <a:lnSpc>
          <a:spcPct val="100000"/>
        </a:lnSpc>
        <a:spcBef>
          <a:spcPts val="400"/>
        </a:spcBef>
        <a:spcAft>
          <a:spcPts val="400"/>
        </a:spcAft>
        <a:buClr>
          <a:schemeClr val="accent1"/>
        </a:buClr>
        <a:buFont typeface="Arial" panose="020B0604020202020204" pitchFamily="34" charset="0"/>
        <a:buChar char="−"/>
        <a:defRPr sz="1866" kern="1200">
          <a:solidFill>
            <a:schemeClr val="tx1">
              <a:lumMod val="75000"/>
            </a:schemeClr>
          </a:solidFill>
          <a:latin typeface="Arial" panose="020B0604020202020204" pitchFamily="34" charset="0"/>
          <a:ea typeface="+mn-ea"/>
          <a:cs typeface="Arial" panose="020B0604020202020204" pitchFamily="34" charset="0"/>
        </a:defRPr>
      </a:lvl2pPr>
      <a:lvl3pPr marL="717479" indent="-260325" algn="l" defTabSz="457154" rtl="0" eaLnBrk="1" latinLnBrk="0" hangingPunct="1">
        <a:lnSpc>
          <a:spcPct val="100000"/>
        </a:lnSpc>
        <a:spcBef>
          <a:spcPts val="400"/>
        </a:spcBef>
        <a:spcAft>
          <a:spcPts val="400"/>
        </a:spcAft>
        <a:buClr>
          <a:schemeClr val="accent1"/>
        </a:buClr>
        <a:buFont typeface="Arial"/>
        <a:buChar char="•"/>
        <a:defRPr sz="1866" kern="1200">
          <a:solidFill>
            <a:schemeClr val="tx1">
              <a:lumMod val="75000"/>
            </a:schemeClr>
          </a:solidFill>
          <a:latin typeface="Arial" panose="020B0604020202020204" pitchFamily="34" charset="0"/>
          <a:ea typeface="+mn-ea"/>
          <a:cs typeface="Arial" panose="020B0604020202020204" pitchFamily="34" charset="0"/>
        </a:defRPr>
      </a:lvl3pPr>
      <a:lvl4pPr marL="958755" indent="-270906" algn="l" defTabSz="457154" rtl="0" eaLnBrk="1" latinLnBrk="0" hangingPunct="1">
        <a:lnSpc>
          <a:spcPct val="100000"/>
        </a:lnSpc>
        <a:spcBef>
          <a:spcPts val="400"/>
        </a:spcBef>
        <a:spcAft>
          <a:spcPts val="400"/>
        </a:spcAft>
        <a:buClr>
          <a:schemeClr val="accent1"/>
        </a:buClr>
        <a:buFont typeface="Arial"/>
        <a:buChar char="•"/>
        <a:defRPr sz="1333" kern="1200">
          <a:solidFill>
            <a:schemeClr val="tx1">
              <a:lumMod val="75000"/>
            </a:schemeClr>
          </a:solidFill>
          <a:latin typeface="Arial" panose="020B0604020202020204" pitchFamily="34" charset="0"/>
          <a:ea typeface="+mn-ea"/>
          <a:cs typeface="Arial" panose="020B0604020202020204" pitchFamily="34" charset="0"/>
        </a:defRPr>
      </a:lvl4pPr>
      <a:lvl5pPr marL="1138653" indent="-228577" algn="l" defTabSz="457154" rtl="0" eaLnBrk="1" latinLnBrk="0" hangingPunct="1">
        <a:lnSpc>
          <a:spcPct val="100000"/>
        </a:lnSpc>
        <a:spcBef>
          <a:spcPts val="400"/>
        </a:spcBef>
        <a:spcAft>
          <a:spcPts val="400"/>
        </a:spcAft>
        <a:buClr>
          <a:schemeClr val="accent1"/>
        </a:buClr>
        <a:buFont typeface="Arial"/>
        <a:buChar char="•"/>
        <a:defRPr sz="1200" kern="1200">
          <a:solidFill>
            <a:schemeClr val="tx1">
              <a:lumMod val="75000"/>
            </a:schemeClr>
          </a:solidFill>
          <a:latin typeface="Arial" panose="020B0604020202020204" pitchFamily="34" charset="0"/>
          <a:ea typeface="+mn-ea"/>
          <a:cs typeface="Arial" panose="020B0604020202020204" pitchFamily="34" charset="0"/>
        </a:defRPr>
      </a:lvl5pPr>
      <a:lvl6pPr marL="2514349"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503"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7"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11"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9" algn="l" defTabSz="457154" rtl="0" eaLnBrk="1" latinLnBrk="0" hangingPunct="1">
        <a:defRPr sz="1800" kern="1200">
          <a:solidFill>
            <a:schemeClr val="tx1"/>
          </a:solidFill>
          <a:latin typeface="+mn-lt"/>
          <a:ea typeface="+mn-ea"/>
          <a:cs typeface="+mn-cs"/>
        </a:defRPr>
      </a:lvl3pPr>
      <a:lvl4pPr marL="1371463" algn="l" defTabSz="457154" rtl="0" eaLnBrk="1" latinLnBrk="0" hangingPunct="1">
        <a:defRPr sz="1800" kern="1200">
          <a:solidFill>
            <a:schemeClr val="tx1"/>
          </a:solidFill>
          <a:latin typeface="+mn-lt"/>
          <a:ea typeface="+mn-ea"/>
          <a:cs typeface="+mn-cs"/>
        </a:defRPr>
      </a:lvl4pPr>
      <a:lvl5pPr marL="1828617" algn="l" defTabSz="457154" rtl="0" eaLnBrk="1" latinLnBrk="0" hangingPunct="1">
        <a:defRPr sz="1800" kern="1200">
          <a:solidFill>
            <a:schemeClr val="tx1"/>
          </a:solidFill>
          <a:latin typeface="+mn-lt"/>
          <a:ea typeface="+mn-ea"/>
          <a:cs typeface="+mn-cs"/>
        </a:defRPr>
      </a:lvl5pPr>
      <a:lvl6pPr marL="2285771" algn="l" defTabSz="457154" rtl="0" eaLnBrk="1" latinLnBrk="0" hangingPunct="1">
        <a:defRPr sz="1800" kern="1200">
          <a:solidFill>
            <a:schemeClr val="tx1"/>
          </a:solidFill>
          <a:latin typeface="+mn-lt"/>
          <a:ea typeface="+mn-ea"/>
          <a:cs typeface="+mn-cs"/>
        </a:defRPr>
      </a:lvl6pPr>
      <a:lvl7pPr marL="2742926" algn="l" defTabSz="457154" rtl="0" eaLnBrk="1" latinLnBrk="0" hangingPunct="1">
        <a:defRPr sz="1800" kern="1200">
          <a:solidFill>
            <a:schemeClr val="tx1"/>
          </a:solidFill>
          <a:latin typeface="+mn-lt"/>
          <a:ea typeface="+mn-ea"/>
          <a:cs typeface="+mn-cs"/>
        </a:defRPr>
      </a:lvl7pPr>
      <a:lvl8pPr marL="3200080" algn="l" defTabSz="457154" rtl="0" eaLnBrk="1" latinLnBrk="0" hangingPunct="1">
        <a:defRPr sz="1800" kern="1200">
          <a:solidFill>
            <a:schemeClr val="tx1"/>
          </a:solidFill>
          <a:latin typeface="+mn-lt"/>
          <a:ea typeface="+mn-ea"/>
          <a:cs typeface="+mn-cs"/>
        </a:defRPr>
      </a:lvl8pPr>
      <a:lvl9pPr marL="3657234" algn="l" defTabSz="4571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72">
          <p15:clr>
            <a:srgbClr val="F26B43"/>
          </p15:clr>
        </p15:guide>
        <p15:guide id="2" pos="240">
          <p15:clr>
            <a:srgbClr val="F26B43"/>
          </p15:clr>
        </p15:guide>
        <p15:guide id="3" pos="7440">
          <p15:clr>
            <a:srgbClr val="F26B43"/>
          </p15:clr>
        </p15:guide>
        <p15:guide id="4" orient="horz" pos="2892">
          <p15:clr>
            <a:srgbClr val="F26B43"/>
          </p15:clr>
        </p15:guide>
        <p15:guide id="5" orient="horz" pos="684">
          <p15:clr>
            <a:srgbClr val="F26B43"/>
          </p15:clr>
        </p15:guide>
        <p15:guide id="6" orient="horz" pos="3984">
          <p15:clr>
            <a:srgbClr val="F26B43"/>
          </p15:clr>
        </p15:guide>
        <p15:guide id="7" pos="2880">
          <p15:clr>
            <a:srgbClr val="F26B43"/>
          </p15:clr>
        </p15:guide>
        <p15:guide id="8"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2063" y="0"/>
            <a:ext cx="12194541" cy="6858000"/>
          </a:xfrm>
          <a:prstGeom prst="rect">
            <a:avLst/>
          </a:prstGeom>
        </p:spPr>
      </p:pic>
      <p:sp>
        <p:nvSpPr>
          <p:cNvPr id="3" name="Text Placeholder 2"/>
          <p:cNvSpPr>
            <a:spLocks noGrp="1"/>
          </p:cNvSpPr>
          <p:nvPr>
            <p:ph type="body" idx="1"/>
          </p:nvPr>
        </p:nvSpPr>
        <p:spPr bwMode="gray">
          <a:xfrm>
            <a:off x="457766" y="1491453"/>
            <a:ext cx="10686773" cy="2811953"/>
          </a:xfrm>
          <a:prstGeom prst="rect">
            <a:avLst/>
          </a:prstGeom>
        </p:spPr>
        <p:txBody>
          <a:bodyPr vert="horz" lIns="0" tIns="0" rIns="0" bIns="0" rtlCol="0">
            <a:noAutofit/>
          </a:bodyPr>
          <a:lstStyle/>
          <a:p>
            <a:pPr lvl="0"/>
            <a:r>
              <a:rPr lang="de-DE"/>
              <a:t>First level bullet copy is set in Arial Regular sentence case 18pt</a:t>
            </a:r>
          </a:p>
          <a:p>
            <a:pPr lvl="0"/>
            <a:r>
              <a:rPr lang="de-DE"/>
              <a:t>Lorem ipsum dolor sit amet, consectetur adipiscing elit.</a:t>
            </a:r>
          </a:p>
          <a:p>
            <a:pPr lvl="1"/>
            <a:r>
              <a:rPr lang="de-DE"/>
              <a:t>First level bullet copy</a:t>
            </a:r>
          </a:p>
          <a:p>
            <a:pPr lvl="2"/>
            <a:r>
              <a:rPr lang="de-DE"/>
              <a:t>Second level bullet copy</a:t>
            </a:r>
          </a:p>
          <a:p>
            <a:pPr lvl="3"/>
            <a:r>
              <a:rPr lang="de-DE"/>
              <a:t>Third level bullet copy</a:t>
            </a:r>
            <a:endParaRPr lang="en-US"/>
          </a:p>
        </p:txBody>
      </p:sp>
      <p:sp>
        <p:nvSpPr>
          <p:cNvPr id="2" name="Title Placeholder 1"/>
          <p:cNvSpPr>
            <a:spLocks noGrp="1"/>
          </p:cNvSpPr>
          <p:nvPr>
            <p:ph type="title"/>
          </p:nvPr>
        </p:nvSpPr>
        <p:spPr bwMode="gray">
          <a:xfrm>
            <a:off x="459306" y="181938"/>
            <a:ext cx="10684867" cy="864000"/>
          </a:xfrm>
          <a:prstGeom prst="rect">
            <a:avLst/>
          </a:prstGeom>
        </p:spPr>
        <p:txBody>
          <a:bodyPr vert="horz" lIns="0" tIns="0" rIns="0" bIns="0" rtlCol="0" anchor="b">
            <a:noAutofit/>
          </a:bodyPr>
          <a:lstStyle/>
          <a:p>
            <a:r>
              <a:rPr lang="de-DE"/>
              <a:t>Headline </a:t>
            </a:r>
            <a:r>
              <a:rPr lang="de-DE" err="1"/>
              <a:t>is</a:t>
            </a:r>
            <a:r>
              <a:rPr lang="de-DE"/>
              <a:t> </a:t>
            </a:r>
            <a:r>
              <a:rPr lang="de-DE" err="1"/>
              <a:t>set</a:t>
            </a:r>
            <a:r>
              <a:rPr lang="de-DE"/>
              <a:t> in Arial </a:t>
            </a:r>
            <a:r>
              <a:rPr lang="de-DE" err="1"/>
              <a:t>Bold</a:t>
            </a:r>
            <a:r>
              <a:rPr lang="de-DE"/>
              <a:t> </a:t>
            </a:r>
            <a:r>
              <a:rPr lang="de-DE" err="1"/>
              <a:t>sentence</a:t>
            </a:r>
            <a:r>
              <a:rPr lang="de-DE"/>
              <a:t> </a:t>
            </a:r>
            <a:r>
              <a:rPr lang="de-DE" err="1"/>
              <a:t>case</a:t>
            </a:r>
            <a:r>
              <a:rPr lang="de-DE"/>
              <a:t> 28pt</a:t>
            </a:r>
            <a:endParaRPr lang="en-US"/>
          </a:p>
        </p:txBody>
      </p:sp>
      <p:sp>
        <p:nvSpPr>
          <p:cNvPr id="6" name="Slide Number Placeholder 5"/>
          <p:cNvSpPr>
            <a:spLocks noGrp="1"/>
          </p:cNvSpPr>
          <p:nvPr>
            <p:ph type="sldNum" sz="quarter" idx="4"/>
          </p:nvPr>
        </p:nvSpPr>
        <p:spPr bwMode="gray">
          <a:xfrm>
            <a:off x="195844"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cxnSp>
        <p:nvCxnSpPr>
          <p:cNvPr id="19" name="Straight Connector 18"/>
          <p:cNvCxnSpPr>
            <a:cxnSpLocks/>
          </p:cNvCxnSpPr>
          <p:nvPr userDrawn="1"/>
        </p:nvCxnSpPr>
        <p:spPr bwMode="gray">
          <a:xfrm>
            <a:off x="457767" y="1169849"/>
            <a:ext cx="11324658" cy="12673"/>
          </a:xfrm>
          <a:prstGeom prst="line">
            <a:avLst/>
          </a:prstGeom>
          <a:ln w="6350">
            <a:solidFill>
              <a:srgbClr val="D1D3D4"/>
            </a:solidFill>
          </a:ln>
        </p:spPr>
        <p:style>
          <a:lnRef idx="1">
            <a:schemeClr val="accent1"/>
          </a:lnRef>
          <a:fillRef idx="0">
            <a:schemeClr val="accent1"/>
          </a:fillRef>
          <a:effectRef idx="0">
            <a:schemeClr val="accent1"/>
          </a:effectRef>
          <a:fontRef idx="minor">
            <a:schemeClr val="tx1"/>
          </a:fontRef>
        </p:style>
      </p:cxnSp>
      <p:grpSp>
        <p:nvGrpSpPr>
          <p:cNvPr id="11" name="Group 10"/>
          <p:cNvGrpSpPr/>
          <p:nvPr userDrawn="1"/>
        </p:nvGrpSpPr>
        <p:grpSpPr>
          <a:xfrm>
            <a:off x="10505108" y="0"/>
            <a:ext cx="1685304" cy="932497"/>
            <a:chOff x="9046884" y="0"/>
            <a:chExt cx="3143527" cy="1739348"/>
          </a:xfrm>
        </p:grpSpPr>
        <p:sp>
          <p:nvSpPr>
            <p:cNvPr id="12" name="Right Triangle 11"/>
            <p:cNvSpPr/>
            <p:nvPr userDrawn="1"/>
          </p:nvSpPr>
          <p:spPr bwMode="gray">
            <a:xfrm flipH="1" flipV="1">
              <a:off x="9046884" y="0"/>
              <a:ext cx="3143527" cy="1739348"/>
            </a:xfrm>
            <a:prstGeom prst="rtTriangle">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pic>
          <p:nvPicPr>
            <p:cNvPr id="13" name="Picture 2" descr="\\nas-mainz\Projekte_vertraulich\Bayer\17-0612_Fischer_CI-Redesign\vom Kunden\Bayer_Cross_2017_REV-White_on-Screen_RGB_170630.wmf">
              <a:hlinkClick r:id="" action="ppaction://noaction"/>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gray">
            <a:xfrm>
              <a:off x="11151774" y="198782"/>
              <a:ext cx="824948" cy="824948"/>
            </a:xfrm>
            <a:prstGeom prst="rect">
              <a:avLst/>
            </a:prstGeom>
            <a:noFill/>
            <a:extLst>
              <a:ext uri="{909E8E84-426E-40DD-AFC4-6F175D3DCCD1}">
                <a14:hiddenFill xmlns:a14="http://schemas.microsoft.com/office/drawing/2010/main">
                  <a:solidFill>
                    <a:srgbClr val="FFFFFF"/>
                  </a:solidFill>
                </a14:hiddenFill>
              </a:ext>
            </a:extLst>
          </p:spPr>
        </p:pic>
      </p:grpSp>
      <p:pic>
        <p:nvPicPr>
          <p:cNvPr id="14" name="Picture 13"/>
          <p:cNvPicPr>
            <a:picLocks noChangeAspect="1"/>
          </p:cNvPicPr>
          <p:nvPr userDrawn="1"/>
        </p:nvPicPr>
        <p:blipFill rotWithShape="1">
          <a:blip r:embed="rId17">
            <a:extLst>
              <a:ext uri="{28A0092B-C50C-407E-A947-70E740481C1C}">
                <a14:useLocalDpi xmlns:a14="http://schemas.microsoft.com/office/drawing/2010/main" val="0"/>
              </a:ext>
            </a:extLst>
          </a:blip>
          <a:srcRect l="40677" b="54059"/>
          <a:stretch/>
        </p:blipFill>
        <p:spPr>
          <a:xfrm>
            <a:off x="11596392" y="0"/>
            <a:ext cx="594022" cy="590612"/>
          </a:xfrm>
          <a:prstGeom prst="rect">
            <a:avLst/>
          </a:prstGeom>
        </p:spPr>
      </p:pic>
    </p:spTree>
    <p:extLst>
      <p:ext uri="{BB962C8B-B14F-4D97-AF65-F5344CB8AC3E}">
        <p14:creationId xmlns:p14="http://schemas.microsoft.com/office/powerpoint/2010/main" val="2133574436"/>
      </p:ext>
    </p:extLst>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 id="2147484199" r:id="rId11"/>
    <p:sldLayoutId id="2147484200" r:id="rId12"/>
    <p:sldLayoutId id="2147484212" r:id="rId13"/>
  </p:sldLayoutIdLst>
  <p:transition>
    <p:fade/>
  </p:transition>
  <p:hf hdr="0" dt="0"/>
  <p:txStyles>
    <p:titleStyle>
      <a:lvl1pPr algn="l" defTabSz="914309" rtl="0" eaLnBrk="1" latinLnBrk="0" hangingPunct="1">
        <a:spcBef>
          <a:spcPct val="0"/>
        </a:spcBef>
        <a:buNone/>
        <a:defRPr sz="2000" b="1" kern="1200">
          <a:solidFill>
            <a:schemeClr val="accent1"/>
          </a:solidFill>
          <a:latin typeface="+mj-lt"/>
          <a:ea typeface="+mj-ea"/>
          <a:cs typeface="+mj-cs"/>
        </a:defRPr>
      </a:lvl1pPr>
    </p:titleStyle>
    <p:bodyStyle>
      <a:lvl1pPr marL="0" indent="0" algn="l" defTabSz="914309" rtl="0" eaLnBrk="1" latinLnBrk="0" hangingPunct="1">
        <a:spcBef>
          <a:spcPts val="1200"/>
        </a:spcBef>
        <a:spcAft>
          <a:spcPts val="600"/>
        </a:spcAft>
        <a:buFont typeface="Arial" panose="020B0604020202020204" pitchFamily="34" charset="0"/>
        <a:buNone/>
        <a:defRPr sz="1800" b="0" kern="1200" baseline="0">
          <a:solidFill>
            <a:schemeClr val="tx1"/>
          </a:solidFill>
          <a:latin typeface="+mn-lt"/>
          <a:ea typeface="+mn-ea"/>
          <a:cs typeface="+mn-cs"/>
        </a:defRPr>
      </a:lvl1pPr>
      <a:lvl2pPr marL="269973" indent="-269973" algn="l" defTabSz="914309" rtl="0" eaLnBrk="1" latinLnBrk="0" hangingPunct="1">
        <a:spcBef>
          <a:spcPts val="300"/>
        </a:spcBef>
        <a:spcAft>
          <a:spcPts val="600"/>
        </a:spcAft>
        <a:buFontTx/>
        <a:buBlip>
          <a:blip r:embed="rId18"/>
        </a:buBlip>
        <a:defRPr sz="1800" kern="1200">
          <a:solidFill>
            <a:schemeClr val="tx1"/>
          </a:solidFill>
          <a:latin typeface="+mn-lt"/>
          <a:ea typeface="+mn-ea"/>
          <a:cs typeface="+mn-cs"/>
        </a:defRPr>
      </a:lvl2pPr>
      <a:lvl3pPr marL="539946" indent="-269973" algn="l" defTabSz="914309" rtl="0" eaLnBrk="1" latinLnBrk="0" hangingPunct="1">
        <a:spcBef>
          <a:spcPts val="300"/>
        </a:spcBef>
        <a:spcAft>
          <a:spcPts val="600"/>
        </a:spcAft>
        <a:buFontTx/>
        <a:buBlip>
          <a:blip r:embed="rId19"/>
        </a:buBlip>
        <a:defRPr sz="1800" kern="1200">
          <a:solidFill>
            <a:schemeClr val="tx1"/>
          </a:solidFill>
          <a:latin typeface="+mn-lt"/>
          <a:ea typeface="+mn-ea"/>
          <a:cs typeface="+mn-cs"/>
        </a:defRPr>
      </a:lvl3pPr>
      <a:lvl4pPr marL="809919" indent="-269973" algn="l" defTabSz="914309" rtl="0" eaLnBrk="1" latinLnBrk="0" hangingPunct="1">
        <a:spcBef>
          <a:spcPts val="300"/>
        </a:spcBef>
        <a:spcAft>
          <a:spcPts val="600"/>
        </a:spcAft>
        <a:buFontTx/>
        <a:buBlip>
          <a:blip r:embed="rId20"/>
        </a:buBlip>
        <a:defRPr sz="1600" kern="1200">
          <a:solidFill>
            <a:schemeClr val="tx1"/>
          </a:solidFill>
          <a:latin typeface="+mn-lt"/>
          <a:ea typeface="+mn-ea"/>
          <a:cs typeface="+mn-cs"/>
        </a:defRPr>
      </a:lvl4pPr>
      <a:lvl5pPr marL="1079892" indent="-269973" algn="l" defTabSz="914309" rtl="0" eaLnBrk="1" latinLnBrk="0" hangingPunct="1">
        <a:spcBef>
          <a:spcPts val="300"/>
        </a:spcBef>
        <a:spcAft>
          <a:spcPts val="600"/>
        </a:spcAft>
        <a:buFontTx/>
        <a:buBlip>
          <a:blip r:embed="rId21"/>
        </a:buBlip>
        <a:defRPr sz="1400" kern="1200">
          <a:solidFill>
            <a:schemeClr val="tx1"/>
          </a:solidFill>
          <a:latin typeface="+mn-lt"/>
          <a:ea typeface="+mn-ea"/>
          <a:cs typeface="+mn-cs"/>
        </a:defRPr>
      </a:lvl5pPr>
      <a:lvl6pPr marL="1079892" indent="-269973" algn="l" defTabSz="914309" rtl="0" eaLnBrk="1" latinLnBrk="0" hangingPunct="1">
        <a:spcBef>
          <a:spcPts val="300"/>
        </a:spcBef>
        <a:spcAft>
          <a:spcPts val="600"/>
        </a:spcAft>
        <a:buFontTx/>
        <a:buBlip>
          <a:blip r:embed="rId21"/>
        </a:buBlip>
        <a:defRPr sz="1800" kern="1200">
          <a:solidFill>
            <a:schemeClr val="tx1"/>
          </a:solidFill>
          <a:latin typeface="+mn-lt"/>
          <a:ea typeface="+mn-ea"/>
          <a:cs typeface="+mn-cs"/>
        </a:defRPr>
      </a:lvl6pPr>
      <a:lvl7pPr marL="1079892" indent="-269973" algn="l" defTabSz="914309" rtl="0" eaLnBrk="1" latinLnBrk="0" hangingPunct="1">
        <a:spcBef>
          <a:spcPts val="300"/>
        </a:spcBef>
        <a:spcAft>
          <a:spcPts val="600"/>
        </a:spcAft>
        <a:buFontTx/>
        <a:buBlip>
          <a:blip r:embed="rId21"/>
        </a:buBlip>
        <a:defRPr sz="1800" kern="1200">
          <a:solidFill>
            <a:schemeClr val="tx1"/>
          </a:solidFill>
          <a:latin typeface="+mn-lt"/>
          <a:ea typeface="+mn-ea"/>
          <a:cs typeface="+mn-cs"/>
        </a:defRPr>
      </a:lvl7pPr>
      <a:lvl8pPr marL="1079892" indent="-269973" algn="l" defTabSz="914309" rtl="0" eaLnBrk="1" latinLnBrk="0" hangingPunct="1">
        <a:spcBef>
          <a:spcPts val="300"/>
        </a:spcBef>
        <a:spcAft>
          <a:spcPts val="600"/>
        </a:spcAft>
        <a:buFontTx/>
        <a:buBlip>
          <a:blip r:embed="rId21"/>
        </a:buBlip>
        <a:defRPr sz="1800" kern="1200">
          <a:solidFill>
            <a:schemeClr val="tx1"/>
          </a:solidFill>
          <a:latin typeface="+mn-lt"/>
          <a:ea typeface="+mn-ea"/>
          <a:cs typeface="+mn-cs"/>
        </a:defRPr>
      </a:lvl8pPr>
      <a:lvl9pPr marL="1079892" indent="-269973" algn="l" defTabSz="914309" rtl="0" eaLnBrk="1" latinLnBrk="0" hangingPunct="1">
        <a:spcBef>
          <a:spcPts val="300"/>
        </a:spcBef>
        <a:spcAft>
          <a:spcPts val="600"/>
        </a:spcAft>
        <a:buFontTx/>
        <a:buBlip>
          <a:blip r:embed="rId21"/>
        </a:buBlip>
        <a:defRPr sz="1800" kern="1200">
          <a:solidFill>
            <a:schemeClr val="tx1"/>
          </a:solidFill>
          <a:latin typeface="+mn-lt"/>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p15:clr>
            <a:srgbClr val="F26B43"/>
          </p15:clr>
        </p15:guide>
        <p15:guide id="2" pos="3908">
          <p15:clr>
            <a:srgbClr val="F26B43"/>
          </p15:clr>
        </p15:guide>
        <p15:guide id="3" pos="4134">
          <p15:clr>
            <a:srgbClr val="F26B43"/>
          </p15:clr>
        </p15:guide>
        <p15:guide id="6" pos="7422">
          <p15:clr>
            <a:srgbClr val="F26B43"/>
          </p15:clr>
        </p15:guide>
        <p15:guide id="7" pos="2376">
          <p15:clr>
            <a:srgbClr val="F26B43"/>
          </p15:clr>
        </p15:guide>
        <p15:guide id="8" pos="2150">
          <p15:clr>
            <a:srgbClr val="F26B43"/>
          </p15:clr>
        </p15:guide>
        <p15:guide id="9" pos="619">
          <p15:clr>
            <a:srgbClr val="F26B43"/>
          </p15:clr>
        </p15:guide>
        <p15:guide id="10" orient="horz" pos="2478">
          <p15:clr>
            <a:srgbClr val="F26B43"/>
          </p15:clr>
        </p15:guide>
        <p15:guide id="11" orient="horz" pos="2592">
          <p15:clr>
            <a:srgbClr val="F26B43"/>
          </p15:clr>
        </p15:guide>
        <p15:guide id="12" orient="horz" pos="4086">
          <p15:clr>
            <a:srgbClr val="F26B43"/>
          </p15:clr>
        </p15:guide>
        <p15:guide id="13" pos="5894">
          <p15:clr>
            <a:srgbClr val="F26B43"/>
          </p15:clr>
        </p15:guide>
        <p15:guide id="14" pos="5666">
          <p15:clr>
            <a:srgbClr val="F26B43"/>
          </p15:clr>
        </p15:guide>
        <p15:guide id="15" pos="4020">
          <p15:clr>
            <a:srgbClr val="F26B43"/>
          </p15:clr>
        </p15:guide>
        <p15:guide id="16" orient="horz" pos="27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2063" y="0"/>
            <a:ext cx="12194541" cy="6858000"/>
          </a:xfrm>
          <a:prstGeom prst="rect">
            <a:avLst/>
          </a:prstGeom>
        </p:spPr>
      </p:pic>
      <p:sp>
        <p:nvSpPr>
          <p:cNvPr id="3" name="Text Placeholder 2"/>
          <p:cNvSpPr>
            <a:spLocks noGrp="1"/>
          </p:cNvSpPr>
          <p:nvPr>
            <p:ph type="body" idx="1"/>
          </p:nvPr>
        </p:nvSpPr>
        <p:spPr bwMode="gray">
          <a:xfrm>
            <a:off x="457766" y="1491453"/>
            <a:ext cx="10686773" cy="2811953"/>
          </a:xfrm>
          <a:prstGeom prst="rect">
            <a:avLst/>
          </a:prstGeom>
        </p:spPr>
        <p:txBody>
          <a:bodyPr vert="horz" lIns="0" tIns="0" rIns="0" bIns="0" rtlCol="0">
            <a:noAutofit/>
          </a:bodyPr>
          <a:lstStyle/>
          <a:p>
            <a:pPr lvl="0"/>
            <a:r>
              <a:rPr lang="de-DE"/>
              <a:t>First level bullet copy is set in Arial Regular sentence case 18pt</a:t>
            </a:r>
          </a:p>
          <a:p>
            <a:pPr lvl="0"/>
            <a:r>
              <a:rPr lang="de-DE"/>
              <a:t>Lorem ipsum dolor sit amet, consectetur adipiscing elit.</a:t>
            </a:r>
          </a:p>
          <a:p>
            <a:pPr lvl="1"/>
            <a:r>
              <a:rPr lang="de-DE"/>
              <a:t>First level bullet copy</a:t>
            </a:r>
          </a:p>
          <a:p>
            <a:pPr lvl="2"/>
            <a:r>
              <a:rPr lang="de-DE"/>
              <a:t>Second level bullet copy</a:t>
            </a:r>
          </a:p>
          <a:p>
            <a:pPr lvl="3"/>
            <a:r>
              <a:rPr lang="de-DE"/>
              <a:t>Third level bullet copy</a:t>
            </a:r>
            <a:endParaRPr lang="en-US"/>
          </a:p>
        </p:txBody>
      </p:sp>
      <p:sp>
        <p:nvSpPr>
          <p:cNvPr id="2" name="Title Placeholder 1"/>
          <p:cNvSpPr>
            <a:spLocks noGrp="1"/>
          </p:cNvSpPr>
          <p:nvPr>
            <p:ph type="title"/>
          </p:nvPr>
        </p:nvSpPr>
        <p:spPr bwMode="gray">
          <a:xfrm>
            <a:off x="459306" y="181938"/>
            <a:ext cx="10684867" cy="864000"/>
          </a:xfrm>
          <a:prstGeom prst="rect">
            <a:avLst/>
          </a:prstGeom>
        </p:spPr>
        <p:txBody>
          <a:bodyPr vert="horz" lIns="0" tIns="0" rIns="0" bIns="0" rtlCol="0" anchor="b">
            <a:noAutofit/>
          </a:bodyPr>
          <a:lstStyle/>
          <a:p>
            <a:r>
              <a:rPr lang="de-DE"/>
              <a:t>Headline </a:t>
            </a:r>
            <a:r>
              <a:rPr lang="de-DE" err="1"/>
              <a:t>is</a:t>
            </a:r>
            <a:r>
              <a:rPr lang="de-DE"/>
              <a:t> </a:t>
            </a:r>
            <a:r>
              <a:rPr lang="de-DE" err="1"/>
              <a:t>set</a:t>
            </a:r>
            <a:r>
              <a:rPr lang="de-DE"/>
              <a:t> in Arial </a:t>
            </a:r>
            <a:r>
              <a:rPr lang="de-DE" err="1"/>
              <a:t>Bold</a:t>
            </a:r>
            <a:r>
              <a:rPr lang="de-DE"/>
              <a:t> </a:t>
            </a:r>
            <a:r>
              <a:rPr lang="de-DE" err="1"/>
              <a:t>sentence</a:t>
            </a:r>
            <a:r>
              <a:rPr lang="de-DE"/>
              <a:t> </a:t>
            </a:r>
            <a:r>
              <a:rPr lang="de-DE" err="1"/>
              <a:t>case</a:t>
            </a:r>
            <a:r>
              <a:rPr lang="de-DE"/>
              <a:t> 28pt</a:t>
            </a:r>
            <a:endParaRPr lang="en-US"/>
          </a:p>
        </p:txBody>
      </p:sp>
      <p:sp>
        <p:nvSpPr>
          <p:cNvPr id="6" name="Slide Number Placeholder 5"/>
          <p:cNvSpPr>
            <a:spLocks noGrp="1"/>
          </p:cNvSpPr>
          <p:nvPr>
            <p:ph type="sldNum" sz="quarter" idx="4"/>
          </p:nvPr>
        </p:nvSpPr>
        <p:spPr bwMode="gray">
          <a:xfrm>
            <a:off x="195844"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cxnSp>
        <p:nvCxnSpPr>
          <p:cNvPr id="19" name="Straight Connector 18"/>
          <p:cNvCxnSpPr>
            <a:cxnSpLocks/>
          </p:cNvCxnSpPr>
          <p:nvPr userDrawn="1"/>
        </p:nvCxnSpPr>
        <p:spPr bwMode="gray">
          <a:xfrm>
            <a:off x="457767" y="1169849"/>
            <a:ext cx="11324658" cy="12673"/>
          </a:xfrm>
          <a:prstGeom prst="line">
            <a:avLst/>
          </a:prstGeom>
          <a:ln w="6350">
            <a:solidFill>
              <a:srgbClr val="D1D3D4"/>
            </a:solidFill>
          </a:ln>
        </p:spPr>
        <p:style>
          <a:lnRef idx="1">
            <a:schemeClr val="accent1"/>
          </a:lnRef>
          <a:fillRef idx="0">
            <a:schemeClr val="accent1"/>
          </a:fillRef>
          <a:effectRef idx="0">
            <a:schemeClr val="accent1"/>
          </a:effectRef>
          <a:fontRef idx="minor">
            <a:schemeClr val="tx1"/>
          </a:fontRef>
        </p:style>
      </p:cxnSp>
      <p:grpSp>
        <p:nvGrpSpPr>
          <p:cNvPr id="11" name="Group 10"/>
          <p:cNvGrpSpPr/>
          <p:nvPr userDrawn="1"/>
        </p:nvGrpSpPr>
        <p:grpSpPr>
          <a:xfrm>
            <a:off x="10505108" y="0"/>
            <a:ext cx="1685304" cy="932497"/>
            <a:chOff x="9046884" y="0"/>
            <a:chExt cx="3143527" cy="1739348"/>
          </a:xfrm>
        </p:grpSpPr>
        <p:sp>
          <p:nvSpPr>
            <p:cNvPr id="12" name="Right Triangle 11"/>
            <p:cNvSpPr/>
            <p:nvPr userDrawn="1"/>
          </p:nvSpPr>
          <p:spPr bwMode="gray">
            <a:xfrm flipH="1" flipV="1">
              <a:off x="9046884" y="0"/>
              <a:ext cx="3143527" cy="1739348"/>
            </a:xfrm>
            <a:prstGeom prst="rtTriangle">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pic>
          <p:nvPicPr>
            <p:cNvPr id="13" name="Picture 2" descr="\\nas-mainz\Projekte_vertraulich\Bayer\17-0612_Fischer_CI-Redesign\vom Kunden\Bayer_Cross_2017_REV-White_on-Screen_RGB_170630.wmf">
              <a:hlinkClick r:id="" action="ppaction://noaction"/>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gray">
            <a:xfrm>
              <a:off x="11151774" y="198782"/>
              <a:ext cx="824948" cy="824948"/>
            </a:xfrm>
            <a:prstGeom prst="rect">
              <a:avLst/>
            </a:prstGeom>
            <a:noFill/>
            <a:extLst>
              <a:ext uri="{909E8E84-426E-40DD-AFC4-6F175D3DCCD1}">
                <a14:hiddenFill xmlns:a14="http://schemas.microsoft.com/office/drawing/2010/main">
                  <a:solidFill>
                    <a:srgbClr val="FFFFFF"/>
                  </a:solidFill>
                </a14:hiddenFill>
              </a:ext>
            </a:extLst>
          </p:spPr>
        </p:pic>
      </p:grpSp>
      <p:pic>
        <p:nvPicPr>
          <p:cNvPr id="14" name="Picture 13"/>
          <p:cNvPicPr>
            <a:picLocks noChangeAspect="1"/>
          </p:cNvPicPr>
          <p:nvPr userDrawn="1"/>
        </p:nvPicPr>
        <p:blipFill rotWithShape="1">
          <a:blip r:embed="rId14">
            <a:extLst>
              <a:ext uri="{28A0092B-C50C-407E-A947-70E740481C1C}">
                <a14:useLocalDpi xmlns:a14="http://schemas.microsoft.com/office/drawing/2010/main" val="0"/>
              </a:ext>
            </a:extLst>
          </a:blip>
          <a:srcRect l="40677" b="54059"/>
          <a:stretch/>
        </p:blipFill>
        <p:spPr>
          <a:xfrm>
            <a:off x="11596392" y="0"/>
            <a:ext cx="594022" cy="590612"/>
          </a:xfrm>
          <a:prstGeom prst="rect">
            <a:avLst/>
          </a:prstGeom>
        </p:spPr>
      </p:pic>
      <p:sp>
        <p:nvSpPr>
          <p:cNvPr id="5" name="Footer Placeholder 4">
            <a:extLst>
              <a:ext uri="{FF2B5EF4-FFF2-40B4-BE49-F238E27FC236}">
                <a16:creationId xmlns:a16="http://schemas.microsoft.com/office/drawing/2014/main" id="{5CB55AC2-DC2C-CA02-3C06-8DC29B4EB4EE}"/>
              </a:ext>
            </a:extLst>
          </p:cNvPr>
          <p:cNvSpPr>
            <a:spLocks noGrp="1"/>
          </p:cNvSpPr>
          <p:nvPr>
            <p:ph type="ftr" sz="quarter" idx="3"/>
          </p:nvPr>
        </p:nvSpPr>
        <p:spPr>
          <a:xfrm>
            <a:off x="594283" y="6400800"/>
            <a:ext cx="9234238" cy="457200"/>
          </a:xfrm>
          <a:prstGeom prst="rect">
            <a:avLst/>
          </a:prstGeom>
        </p:spPr>
        <p:txBody>
          <a:bodyPr vert="horz" lIns="91440" tIns="45720" rIns="91440" bIns="45720" rtlCol="0" anchor="b" anchorCtr="0"/>
          <a:lstStyle>
            <a:lvl1pPr algn="l">
              <a:defRPr sz="900">
                <a:solidFill>
                  <a:schemeClr val="tx1"/>
                </a:solidFill>
              </a:defRPr>
            </a:lvl1pPr>
          </a:lstStyle>
          <a:p>
            <a:endParaRPr lang="en-US"/>
          </a:p>
        </p:txBody>
      </p:sp>
    </p:spTree>
    <p:extLst>
      <p:ext uri="{BB962C8B-B14F-4D97-AF65-F5344CB8AC3E}">
        <p14:creationId xmlns:p14="http://schemas.microsoft.com/office/powerpoint/2010/main" val="162757455"/>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5" r:id="rId4"/>
    <p:sldLayoutId id="2147484206" r:id="rId5"/>
    <p:sldLayoutId id="2147484207" r:id="rId6"/>
    <p:sldLayoutId id="2147484208" r:id="rId7"/>
    <p:sldLayoutId id="2147484209" r:id="rId8"/>
    <p:sldLayoutId id="2147484210" r:id="rId9"/>
    <p:sldLayoutId id="2147484211" r:id="rId10"/>
  </p:sldLayoutIdLst>
  <p:transition>
    <p:fade/>
  </p:transition>
  <p:hf hdr="0" dt="0"/>
  <p:txStyles>
    <p:titleStyle>
      <a:lvl1pPr algn="l" defTabSz="914309" rtl="0" eaLnBrk="1" latinLnBrk="0" hangingPunct="1">
        <a:spcBef>
          <a:spcPct val="0"/>
        </a:spcBef>
        <a:buNone/>
        <a:defRPr sz="2000" b="1" kern="1200">
          <a:solidFill>
            <a:schemeClr val="accent1"/>
          </a:solidFill>
          <a:latin typeface="+mj-lt"/>
          <a:ea typeface="+mj-ea"/>
          <a:cs typeface="+mj-cs"/>
        </a:defRPr>
      </a:lvl1pPr>
    </p:titleStyle>
    <p:bodyStyle>
      <a:lvl1pPr marL="0" indent="0" algn="l" defTabSz="914309" rtl="0" eaLnBrk="1" latinLnBrk="0" hangingPunct="1">
        <a:spcBef>
          <a:spcPts val="1200"/>
        </a:spcBef>
        <a:spcAft>
          <a:spcPts val="600"/>
        </a:spcAft>
        <a:buFont typeface="Arial" panose="020B0604020202020204" pitchFamily="34" charset="0"/>
        <a:buNone/>
        <a:defRPr sz="1800" b="0" kern="1200" baseline="0">
          <a:solidFill>
            <a:schemeClr val="tx1"/>
          </a:solidFill>
          <a:latin typeface="+mn-lt"/>
          <a:ea typeface="+mn-ea"/>
          <a:cs typeface="+mn-cs"/>
        </a:defRPr>
      </a:lvl1pPr>
      <a:lvl2pPr marL="269973" indent="-269973" algn="l" defTabSz="914309" rtl="0" eaLnBrk="1" latinLnBrk="0" hangingPunct="1">
        <a:spcBef>
          <a:spcPts val="300"/>
        </a:spcBef>
        <a:spcAft>
          <a:spcPts val="600"/>
        </a:spcAft>
        <a:buFontTx/>
        <a:buBlip>
          <a:blip r:embed="rId15"/>
        </a:buBlip>
        <a:defRPr sz="1800" kern="1200">
          <a:solidFill>
            <a:schemeClr val="tx1"/>
          </a:solidFill>
          <a:latin typeface="+mn-lt"/>
          <a:ea typeface="+mn-ea"/>
          <a:cs typeface="+mn-cs"/>
        </a:defRPr>
      </a:lvl2pPr>
      <a:lvl3pPr marL="539946" indent="-269973" algn="l" defTabSz="914309" rtl="0" eaLnBrk="1" latinLnBrk="0" hangingPunct="1">
        <a:spcBef>
          <a:spcPts val="300"/>
        </a:spcBef>
        <a:spcAft>
          <a:spcPts val="600"/>
        </a:spcAft>
        <a:buFontTx/>
        <a:buBlip>
          <a:blip r:embed="rId16"/>
        </a:buBlip>
        <a:defRPr sz="1800" kern="1200">
          <a:solidFill>
            <a:schemeClr val="tx1"/>
          </a:solidFill>
          <a:latin typeface="+mn-lt"/>
          <a:ea typeface="+mn-ea"/>
          <a:cs typeface="+mn-cs"/>
        </a:defRPr>
      </a:lvl3pPr>
      <a:lvl4pPr marL="809919" indent="-269973" algn="l" defTabSz="914309" rtl="0" eaLnBrk="1" latinLnBrk="0" hangingPunct="1">
        <a:spcBef>
          <a:spcPts val="300"/>
        </a:spcBef>
        <a:spcAft>
          <a:spcPts val="600"/>
        </a:spcAft>
        <a:buFontTx/>
        <a:buBlip>
          <a:blip r:embed="rId17"/>
        </a:buBlip>
        <a:defRPr sz="1600" kern="1200">
          <a:solidFill>
            <a:schemeClr val="tx1"/>
          </a:solidFill>
          <a:latin typeface="+mn-lt"/>
          <a:ea typeface="+mn-ea"/>
          <a:cs typeface="+mn-cs"/>
        </a:defRPr>
      </a:lvl4pPr>
      <a:lvl5pPr marL="1079892" indent="-269973" algn="l" defTabSz="914309" rtl="0" eaLnBrk="1" latinLnBrk="0" hangingPunct="1">
        <a:spcBef>
          <a:spcPts val="300"/>
        </a:spcBef>
        <a:spcAft>
          <a:spcPts val="600"/>
        </a:spcAft>
        <a:buFontTx/>
        <a:buBlip>
          <a:blip r:embed="rId18"/>
        </a:buBlip>
        <a:defRPr sz="1400" kern="1200">
          <a:solidFill>
            <a:schemeClr val="tx1"/>
          </a:solidFill>
          <a:latin typeface="+mn-lt"/>
          <a:ea typeface="+mn-ea"/>
          <a:cs typeface="+mn-cs"/>
        </a:defRPr>
      </a:lvl5pPr>
      <a:lvl6pPr marL="1079892" indent="-269973" algn="l" defTabSz="914309" rtl="0" eaLnBrk="1" latinLnBrk="0" hangingPunct="1">
        <a:spcBef>
          <a:spcPts val="300"/>
        </a:spcBef>
        <a:spcAft>
          <a:spcPts val="600"/>
        </a:spcAft>
        <a:buFontTx/>
        <a:buBlip>
          <a:blip r:embed="rId18"/>
        </a:buBlip>
        <a:defRPr sz="1800" kern="1200">
          <a:solidFill>
            <a:schemeClr val="tx1"/>
          </a:solidFill>
          <a:latin typeface="+mn-lt"/>
          <a:ea typeface="+mn-ea"/>
          <a:cs typeface="+mn-cs"/>
        </a:defRPr>
      </a:lvl6pPr>
      <a:lvl7pPr marL="1079892" indent="-269973" algn="l" defTabSz="914309" rtl="0" eaLnBrk="1" latinLnBrk="0" hangingPunct="1">
        <a:spcBef>
          <a:spcPts val="300"/>
        </a:spcBef>
        <a:spcAft>
          <a:spcPts val="600"/>
        </a:spcAft>
        <a:buFontTx/>
        <a:buBlip>
          <a:blip r:embed="rId18"/>
        </a:buBlip>
        <a:defRPr sz="1800" kern="1200">
          <a:solidFill>
            <a:schemeClr val="tx1"/>
          </a:solidFill>
          <a:latin typeface="+mn-lt"/>
          <a:ea typeface="+mn-ea"/>
          <a:cs typeface="+mn-cs"/>
        </a:defRPr>
      </a:lvl7pPr>
      <a:lvl8pPr marL="1079892" indent="-269973" algn="l" defTabSz="914309" rtl="0" eaLnBrk="1" latinLnBrk="0" hangingPunct="1">
        <a:spcBef>
          <a:spcPts val="300"/>
        </a:spcBef>
        <a:spcAft>
          <a:spcPts val="600"/>
        </a:spcAft>
        <a:buFontTx/>
        <a:buBlip>
          <a:blip r:embed="rId18"/>
        </a:buBlip>
        <a:defRPr sz="1800" kern="1200">
          <a:solidFill>
            <a:schemeClr val="tx1"/>
          </a:solidFill>
          <a:latin typeface="+mn-lt"/>
          <a:ea typeface="+mn-ea"/>
          <a:cs typeface="+mn-cs"/>
        </a:defRPr>
      </a:lvl8pPr>
      <a:lvl9pPr marL="1079892" indent="-269973" algn="l" defTabSz="914309" rtl="0" eaLnBrk="1" latinLnBrk="0" hangingPunct="1">
        <a:spcBef>
          <a:spcPts val="300"/>
        </a:spcBef>
        <a:spcAft>
          <a:spcPts val="600"/>
        </a:spcAft>
        <a:buFontTx/>
        <a:buBlip>
          <a:blip r:embed="rId18"/>
        </a:buBlip>
        <a:defRPr sz="1800" kern="1200">
          <a:solidFill>
            <a:schemeClr val="tx1"/>
          </a:solidFill>
          <a:latin typeface="+mn-lt"/>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p15:clr>
            <a:srgbClr val="F26B43"/>
          </p15:clr>
        </p15:guide>
        <p15:guide id="2" pos="3908">
          <p15:clr>
            <a:srgbClr val="F26B43"/>
          </p15:clr>
        </p15:guide>
        <p15:guide id="3" pos="4134">
          <p15:clr>
            <a:srgbClr val="F26B43"/>
          </p15:clr>
        </p15:guide>
        <p15:guide id="6" pos="7422">
          <p15:clr>
            <a:srgbClr val="F26B43"/>
          </p15:clr>
        </p15:guide>
        <p15:guide id="7" pos="2376">
          <p15:clr>
            <a:srgbClr val="F26B43"/>
          </p15:clr>
        </p15:guide>
        <p15:guide id="8" pos="2150">
          <p15:clr>
            <a:srgbClr val="F26B43"/>
          </p15:clr>
        </p15:guide>
        <p15:guide id="9" pos="619">
          <p15:clr>
            <a:srgbClr val="F26B43"/>
          </p15:clr>
        </p15:guide>
        <p15:guide id="10" orient="horz" pos="2478">
          <p15:clr>
            <a:srgbClr val="F26B43"/>
          </p15:clr>
        </p15:guide>
        <p15:guide id="11" orient="horz" pos="2592">
          <p15:clr>
            <a:srgbClr val="F26B43"/>
          </p15:clr>
        </p15:guide>
        <p15:guide id="12" orient="horz" pos="4086">
          <p15:clr>
            <a:srgbClr val="F26B43"/>
          </p15:clr>
        </p15:guide>
        <p15:guide id="13" pos="5894">
          <p15:clr>
            <a:srgbClr val="F26B43"/>
          </p15:clr>
        </p15:guide>
        <p15:guide id="14" pos="5666">
          <p15:clr>
            <a:srgbClr val="F26B43"/>
          </p15:clr>
        </p15:guide>
        <p15:guide id="15" pos="4020">
          <p15:clr>
            <a:srgbClr val="F26B43"/>
          </p15:clr>
        </p15:guide>
        <p15:guide id="16" orient="horz" pos="270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6F3D0C75-2109-0640-A7D2-A88EF70909F8}"/>
              </a:ext>
            </a:extLst>
          </p:cNvPr>
          <p:cNvSpPr/>
          <p:nvPr userDrawn="1"/>
        </p:nvSpPr>
        <p:spPr>
          <a:xfrm>
            <a:off x="9532865" y="-1"/>
            <a:ext cx="2657549" cy="1076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2" name="Freeform 31">
            <a:extLst>
              <a:ext uri="{FF2B5EF4-FFF2-40B4-BE49-F238E27FC236}">
                <a16:creationId xmlns:a16="http://schemas.microsoft.com/office/drawing/2014/main" id="{AAD0361F-9B2A-0648-9585-CAC83CDB472F}"/>
              </a:ext>
            </a:extLst>
          </p:cNvPr>
          <p:cNvSpPr/>
          <p:nvPr userDrawn="1"/>
        </p:nvSpPr>
        <p:spPr>
          <a:xfrm>
            <a:off x="9532865" y="-1"/>
            <a:ext cx="602449" cy="1076325"/>
          </a:xfrm>
          <a:custGeom>
            <a:avLst/>
            <a:gdLst>
              <a:gd name="connsiteX0" fmla="*/ 485733 w 602527"/>
              <a:gd name="connsiteY0" fmla="*/ 0 h 1076325"/>
              <a:gd name="connsiteX1" fmla="*/ 602527 w 602527"/>
              <a:gd name="connsiteY1" fmla="*/ 0 h 1076325"/>
              <a:gd name="connsiteX2" fmla="*/ 116794 w 602527"/>
              <a:gd name="connsiteY2" fmla="*/ 1076325 h 1076325"/>
              <a:gd name="connsiteX3" fmla="*/ 0 w 602527"/>
              <a:gd name="connsiteY3" fmla="*/ 1076325 h 1076325"/>
              <a:gd name="connsiteX4" fmla="*/ 485733 w 602527"/>
              <a:gd name="connsiteY4" fmla="*/ 0 h 1076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527" h="1076325">
                <a:moveTo>
                  <a:pt x="485733" y="0"/>
                </a:moveTo>
                <a:lnTo>
                  <a:pt x="602527" y="0"/>
                </a:lnTo>
                <a:lnTo>
                  <a:pt x="116794" y="1076325"/>
                </a:lnTo>
                <a:lnTo>
                  <a:pt x="0" y="1076325"/>
                </a:lnTo>
                <a:lnTo>
                  <a:pt x="48573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4" name="Freeform 23">
            <a:extLst>
              <a:ext uri="{FF2B5EF4-FFF2-40B4-BE49-F238E27FC236}">
                <a16:creationId xmlns:a16="http://schemas.microsoft.com/office/drawing/2014/main" id="{017D0922-3950-7D4A-8176-545FB88FCDC9}"/>
              </a:ext>
            </a:extLst>
          </p:cNvPr>
          <p:cNvSpPr/>
          <p:nvPr userDrawn="1"/>
        </p:nvSpPr>
        <p:spPr>
          <a:xfrm>
            <a:off x="0" y="-1"/>
            <a:ext cx="10018534" cy="1076325"/>
          </a:xfrm>
          <a:custGeom>
            <a:avLst/>
            <a:gdLst>
              <a:gd name="connsiteX0" fmla="*/ 0 w 10019838"/>
              <a:gd name="connsiteY0" fmla="*/ 0 h 1076325"/>
              <a:gd name="connsiteX1" fmla="*/ 10019838 w 10019838"/>
              <a:gd name="connsiteY1" fmla="*/ 0 h 1076325"/>
              <a:gd name="connsiteX2" fmla="*/ 9534105 w 10019838"/>
              <a:gd name="connsiteY2" fmla="*/ 1076325 h 1076325"/>
              <a:gd name="connsiteX3" fmla="*/ 0 w 10019838"/>
              <a:gd name="connsiteY3" fmla="*/ 1076325 h 1076325"/>
            </a:gdLst>
            <a:ahLst/>
            <a:cxnLst>
              <a:cxn ang="0">
                <a:pos x="connsiteX0" y="connsiteY0"/>
              </a:cxn>
              <a:cxn ang="0">
                <a:pos x="connsiteX1" y="connsiteY1"/>
              </a:cxn>
              <a:cxn ang="0">
                <a:pos x="connsiteX2" y="connsiteY2"/>
              </a:cxn>
              <a:cxn ang="0">
                <a:pos x="connsiteX3" y="connsiteY3"/>
              </a:cxn>
            </a:cxnLst>
            <a:rect l="l" t="t" r="r" b="b"/>
            <a:pathLst>
              <a:path w="10019838" h="1076325">
                <a:moveTo>
                  <a:pt x="0" y="0"/>
                </a:moveTo>
                <a:lnTo>
                  <a:pt x="10019838" y="0"/>
                </a:lnTo>
                <a:lnTo>
                  <a:pt x="9534105" y="1076325"/>
                </a:lnTo>
                <a:lnTo>
                  <a:pt x="0" y="1076325"/>
                </a:lnTo>
                <a:close/>
              </a:path>
            </a:pathLst>
          </a:custGeom>
          <a:solidFill>
            <a:srgbClr val="1F428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 name="Title Placeholder 1">
            <a:extLst>
              <a:ext uri="{FF2B5EF4-FFF2-40B4-BE49-F238E27FC236}">
                <a16:creationId xmlns:a16="http://schemas.microsoft.com/office/drawing/2014/main" id="{D37EB126-FE29-544B-8613-510E0ADD4360}"/>
              </a:ext>
            </a:extLst>
          </p:cNvPr>
          <p:cNvSpPr>
            <a:spLocks noGrp="1"/>
          </p:cNvSpPr>
          <p:nvPr userDrawn="1">
            <p:ph type="title"/>
          </p:nvPr>
        </p:nvSpPr>
        <p:spPr>
          <a:xfrm>
            <a:off x="495235" y="125128"/>
            <a:ext cx="10446833" cy="890872"/>
          </a:xfrm>
          <a:prstGeom prst="rect">
            <a:avLst/>
          </a:prstGeom>
        </p:spPr>
        <p:txBody>
          <a:bodyPr vert="horz" lIns="0" tIns="45720" rIns="91440" bIns="45720" rtlCol="0" anchor="ctr">
            <a:normAutofit/>
          </a:bodyPr>
          <a:lstStyle/>
          <a:p>
            <a:r>
              <a:rPr lang="en-US" dirty="0"/>
              <a:t>Click to edit </a:t>
            </a:r>
            <a:br>
              <a:rPr lang="en-US" dirty="0"/>
            </a:br>
            <a:r>
              <a:rPr lang="en-US" dirty="0"/>
              <a:t>Master title style</a:t>
            </a:r>
          </a:p>
        </p:txBody>
      </p:sp>
      <p:sp>
        <p:nvSpPr>
          <p:cNvPr id="3" name="Text Placeholder 2">
            <a:extLst>
              <a:ext uri="{FF2B5EF4-FFF2-40B4-BE49-F238E27FC236}">
                <a16:creationId xmlns:a16="http://schemas.microsoft.com/office/drawing/2014/main" id="{0E7EB39E-7124-9A44-BECF-D8CFC886AED0}"/>
              </a:ext>
            </a:extLst>
          </p:cNvPr>
          <p:cNvSpPr>
            <a:spLocks noGrp="1"/>
          </p:cNvSpPr>
          <p:nvPr userDrawn="1">
            <p:ph type="body" idx="1"/>
          </p:nvPr>
        </p:nvSpPr>
        <p:spPr>
          <a:xfrm>
            <a:off x="525394" y="1825625"/>
            <a:ext cx="10440116" cy="4351338"/>
          </a:xfrm>
          <a:prstGeom prst="rect">
            <a:avLst/>
          </a:prstGeom>
        </p:spPr>
        <p:txBody>
          <a:bodyPr vert="horz" lIns="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CB61A5F-C324-9343-9A72-03C124D5E53E}"/>
              </a:ext>
            </a:extLst>
          </p:cNvPr>
          <p:cNvSpPr>
            <a:spLocks noGrp="1"/>
          </p:cNvSpPr>
          <p:nvPr userDrawn="1">
            <p:ph type="dt" sz="half" idx="2"/>
          </p:nvPr>
        </p:nvSpPr>
        <p:spPr>
          <a:xfrm>
            <a:off x="838091" y="6356351"/>
            <a:ext cx="2742843" cy="365125"/>
          </a:xfrm>
          <a:prstGeom prst="rect">
            <a:avLst/>
          </a:prstGeom>
        </p:spPr>
        <p:txBody>
          <a:bodyPr vert="horz" lIns="91440" tIns="45720" rIns="91440" bIns="45720" rtlCol="0" anchor="ctr"/>
          <a:lstStyle>
            <a:lvl1pPr algn="l">
              <a:defRPr sz="1100">
                <a:solidFill>
                  <a:schemeClr val="tx1">
                    <a:tint val="75000"/>
                  </a:schemeClr>
                </a:solidFill>
              </a:defRPr>
            </a:lvl1pPr>
          </a:lstStyle>
          <a:p>
            <a:fld id="{60A00CC8-20D9-CA47-B460-D14CA09E1CFC}" type="datetime1">
              <a:rPr lang="en-US" smtClean="0"/>
              <a:pPr/>
              <a:t>6/7/2024</a:t>
            </a:fld>
            <a:endParaRPr lang="en-US" dirty="0"/>
          </a:p>
        </p:txBody>
      </p:sp>
      <p:sp>
        <p:nvSpPr>
          <p:cNvPr id="5" name="Footer Placeholder 4">
            <a:extLst>
              <a:ext uri="{FF2B5EF4-FFF2-40B4-BE49-F238E27FC236}">
                <a16:creationId xmlns:a16="http://schemas.microsoft.com/office/drawing/2014/main" id="{B22365B9-9D87-E647-B9DE-7603201AFBC7}"/>
              </a:ext>
            </a:extLst>
          </p:cNvPr>
          <p:cNvSpPr>
            <a:spLocks noGrp="1"/>
          </p:cNvSpPr>
          <p:nvPr userDrawn="1">
            <p:ph type="ftr" sz="quarter" idx="3"/>
          </p:nvPr>
        </p:nvSpPr>
        <p:spPr>
          <a:xfrm>
            <a:off x="4038075" y="6356351"/>
            <a:ext cx="4114264" cy="365125"/>
          </a:xfrm>
          <a:prstGeom prst="rect">
            <a:avLst/>
          </a:prstGeom>
        </p:spPr>
        <p:txBody>
          <a:bodyPr vert="horz" lIns="91440" tIns="45720" rIns="91440" bIns="45720" rtlCol="0" anchor="ctr"/>
          <a:lstStyle>
            <a:lvl1pPr algn="ctr">
              <a:defRPr sz="1100" b="1" i="0" baseline="0">
                <a:solidFill>
                  <a:schemeClr val="tx1">
                    <a:tint val="75000"/>
                  </a:schemeClr>
                </a:solidFill>
              </a:defRPr>
            </a:lvl1pPr>
          </a:lstStyle>
          <a:p>
            <a:r>
              <a:rPr lang="en-US"/>
              <a:t>FOR INTERNAL USE ONLY</a:t>
            </a:r>
            <a:endParaRPr lang="en-US" dirty="0"/>
          </a:p>
        </p:txBody>
      </p:sp>
      <p:sp>
        <p:nvSpPr>
          <p:cNvPr id="6" name="Slide Number Placeholder 5">
            <a:extLst>
              <a:ext uri="{FF2B5EF4-FFF2-40B4-BE49-F238E27FC236}">
                <a16:creationId xmlns:a16="http://schemas.microsoft.com/office/drawing/2014/main" id="{11BDA642-3C68-9B4B-93B9-4339A70042C7}"/>
              </a:ext>
            </a:extLst>
          </p:cNvPr>
          <p:cNvSpPr>
            <a:spLocks noGrp="1"/>
          </p:cNvSpPr>
          <p:nvPr userDrawn="1">
            <p:ph type="sldNum" sz="quarter" idx="4"/>
          </p:nvPr>
        </p:nvSpPr>
        <p:spPr>
          <a:xfrm>
            <a:off x="121950" y="6397451"/>
            <a:ext cx="394592" cy="324024"/>
          </a:xfrm>
          <a:prstGeom prst="rect">
            <a:avLst/>
          </a:prstGeom>
          <a:solidFill>
            <a:srgbClr val="1F4288">
              <a:alpha val="50196"/>
            </a:srgbClr>
          </a:solidFill>
        </p:spPr>
        <p:txBody>
          <a:bodyPr vert="horz" lIns="91440" tIns="45720" rIns="91440" bIns="45720" rtlCol="0" anchor="ctr"/>
          <a:lstStyle>
            <a:lvl1pPr algn="ctr">
              <a:defRPr sz="1100" b="1" i="0" baseline="0">
                <a:solidFill>
                  <a:schemeClr val="bg1"/>
                </a:solidFill>
              </a:defRPr>
            </a:lvl1pPr>
          </a:lstStyle>
          <a:p>
            <a:fld id="{C0AFECD8-B8AF-5C4E-B306-A0438013ED66}" type="slidenum">
              <a:rPr lang="en-US" smtClean="0"/>
              <a:pPr/>
              <a:t>‹#›</a:t>
            </a:fld>
            <a:endParaRPr lang="en-US" dirty="0"/>
          </a:p>
        </p:txBody>
      </p:sp>
      <p:grpSp>
        <p:nvGrpSpPr>
          <p:cNvPr id="25" name="Group 24">
            <a:extLst>
              <a:ext uri="{FF2B5EF4-FFF2-40B4-BE49-F238E27FC236}">
                <a16:creationId xmlns:a16="http://schemas.microsoft.com/office/drawing/2014/main" id="{B6C429F6-DE49-844D-BC47-458C856E861D}"/>
              </a:ext>
            </a:extLst>
          </p:cNvPr>
          <p:cNvGrpSpPr/>
          <p:nvPr userDrawn="1"/>
        </p:nvGrpSpPr>
        <p:grpSpPr>
          <a:xfrm>
            <a:off x="10045517" y="231452"/>
            <a:ext cx="1930338" cy="549371"/>
            <a:chOff x="8736118" y="1637730"/>
            <a:chExt cx="2478142" cy="705184"/>
          </a:xfrm>
        </p:grpSpPr>
        <p:pic>
          <p:nvPicPr>
            <p:cNvPr id="26" name="Picture 25">
              <a:extLst>
                <a:ext uri="{FF2B5EF4-FFF2-40B4-BE49-F238E27FC236}">
                  <a16:creationId xmlns:a16="http://schemas.microsoft.com/office/drawing/2014/main" id="{E6CCE957-14A5-C84A-B741-F50F0F16A87B}"/>
                </a:ext>
              </a:extLst>
            </p:cNvPr>
            <p:cNvPicPr>
              <a:picLocks noChangeAspect="1"/>
            </p:cNvPicPr>
            <p:nvPr userDrawn="1"/>
          </p:nvPicPr>
          <p:blipFill>
            <a:blip r:embed="rId17"/>
            <a:stretch>
              <a:fillRect/>
            </a:stretch>
          </p:blipFill>
          <p:spPr>
            <a:xfrm>
              <a:off x="10509076" y="1637730"/>
              <a:ext cx="705184" cy="705184"/>
            </a:xfrm>
            <a:prstGeom prst="rect">
              <a:avLst/>
            </a:prstGeom>
          </p:spPr>
        </p:pic>
        <p:pic>
          <p:nvPicPr>
            <p:cNvPr id="27" name="Picture 26">
              <a:extLst>
                <a:ext uri="{FF2B5EF4-FFF2-40B4-BE49-F238E27FC236}">
                  <a16:creationId xmlns:a16="http://schemas.microsoft.com/office/drawing/2014/main" id="{98D6C843-8510-444D-8351-263FB074E9E5}"/>
                </a:ext>
              </a:extLst>
            </p:cNvPr>
            <p:cNvPicPr>
              <a:picLocks noChangeAspect="1"/>
            </p:cNvPicPr>
            <p:nvPr userDrawn="1"/>
          </p:nvPicPr>
          <p:blipFill>
            <a:blip r:embed="rId18"/>
            <a:stretch>
              <a:fillRect/>
            </a:stretch>
          </p:blipFill>
          <p:spPr>
            <a:xfrm>
              <a:off x="8736118" y="1728542"/>
              <a:ext cx="1397890" cy="553411"/>
            </a:xfrm>
            <a:prstGeom prst="rect">
              <a:avLst/>
            </a:prstGeom>
          </p:spPr>
        </p:pic>
      </p:grpSp>
    </p:spTree>
    <p:extLst>
      <p:ext uri="{BB962C8B-B14F-4D97-AF65-F5344CB8AC3E}">
        <p14:creationId xmlns:p14="http://schemas.microsoft.com/office/powerpoint/2010/main" val="1979774609"/>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5" r:id="rId12"/>
    <p:sldLayoutId id="2147484226" r:id="rId13"/>
    <p:sldLayoutId id="2147484227" r:id="rId14"/>
  </p:sldLayoutIdLst>
  <p:hf hdr="0" dt="0"/>
  <p:txStyles>
    <p:titleStyle>
      <a:lvl1pPr algn="l" defTabSz="914309" rtl="0" eaLnBrk="1" latinLnBrk="0" hangingPunct="1">
        <a:lnSpc>
          <a:spcPct val="85000"/>
        </a:lnSpc>
        <a:spcBef>
          <a:spcPct val="0"/>
        </a:spcBef>
        <a:buNone/>
        <a:defRPr sz="2800" b="1" i="0" kern="1200" cap="all" baseline="0">
          <a:solidFill>
            <a:schemeClr val="bg1"/>
          </a:solidFill>
          <a:latin typeface="Arial" panose="020B0604020202020204" pitchFamily="34" charset="0"/>
          <a:ea typeface="+mj-ea"/>
          <a:cs typeface="Arial" panose="020B0604020202020204" pitchFamily="34" charset="0"/>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1pPr>
      <a:lvl2pPr marL="685731" indent="-228577" algn="l" defTabSz="914309" rtl="0" eaLnBrk="1" latinLnBrk="0" hangingPunct="1">
        <a:lnSpc>
          <a:spcPct val="90000"/>
        </a:lnSpc>
        <a:spcBef>
          <a:spcPts val="500"/>
        </a:spcBef>
        <a:buFont typeface="Helvetica" pitchFamily="2" charset="0"/>
        <a:buChar char="―"/>
        <a:defRPr sz="1800" kern="1200" baseline="0">
          <a:solidFill>
            <a:schemeClr val="tx2"/>
          </a:solidFill>
          <a:latin typeface="Arial" panose="020B0604020202020204" pitchFamily="34" charset="0"/>
          <a:ea typeface="+mn-ea"/>
          <a:cs typeface="Arial" panose="020B0604020202020204" pitchFamily="34" charset="0"/>
        </a:defRPr>
      </a:lvl2pPr>
      <a:lvl3pPr marL="1142886" indent="-228577" algn="l" defTabSz="914309" rtl="0" eaLnBrk="1" latinLnBrk="0" hangingPunct="1">
        <a:lnSpc>
          <a:spcPct val="90000"/>
        </a:lnSpc>
        <a:spcBef>
          <a:spcPts val="500"/>
        </a:spcBef>
        <a:buFont typeface="Courier New" panose="02070309020205020404" pitchFamily="49" charset="0"/>
        <a:buChar char="o"/>
        <a:defRPr sz="1600" kern="1200" baseline="0">
          <a:solidFill>
            <a:schemeClr val="tx2"/>
          </a:solidFill>
          <a:latin typeface="Arial" panose="020B0604020202020204" pitchFamily="34" charset="0"/>
          <a:ea typeface="+mn-ea"/>
          <a:cs typeface="Arial" panose="020B0604020202020204" pitchFamily="34" charset="0"/>
        </a:defRPr>
      </a:lvl3pPr>
      <a:lvl4pPr marL="1600040" indent="-228577" algn="l" defTabSz="914309" rtl="0" eaLnBrk="1" latinLnBrk="0" hangingPunct="1">
        <a:lnSpc>
          <a:spcPct val="90000"/>
        </a:lnSpc>
        <a:spcBef>
          <a:spcPts val="500"/>
        </a:spcBef>
        <a:buFont typeface="Arial" panose="020B0604020202020204" pitchFamily="34" charset="0"/>
        <a:buChar char="•"/>
        <a:defRPr sz="1400" kern="1200" baseline="0">
          <a:solidFill>
            <a:schemeClr val="tx2"/>
          </a:solidFill>
          <a:latin typeface="Arial" panose="020B0604020202020204" pitchFamily="34" charset="0"/>
          <a:ea typeface="+mn-ea"/>
          <a:cs typeface="Arial" panose="020B0604020202020204" pitchFamily="34" charset="0"/>
        </a:defRPr>
      </a:lvl4pPr>
      <a:lvl5pPr marL="2057194" indent="-228577" algn="l" defTabSz="914309" rtl="0" eaLnBrk="1" latinLnBrk="0" hangingPunct="1">
        <a:lnSpc>
          <a:spcPct val="90000"/>
        </a:lnSpc>
        <a:spcBef>
          <a:spcPts val="500"/>
        </a:spcBef>
        <a:buFont typeface="Arial" panose="020B0604020202020204" pitchFamily="34" charset="0"/>
        <a:buChar char="•"/>
        <a:defRPr sz="1200" kern="1200" baseline="0">
          <a:solidFill>
            <a:schemeClr val="tx2"/>
          </a:solidFill>
          <a:latin typeface="Arial" panose="020B0604020202020204" pitchFamily="34" charset="0"/>
          <a:ea typeface="+mn-ea"/>
          <a:cs typeface="Arial" panose="020B0604020202020204" pitchFamily="34" charset="0"/>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p15:clr>
            <a:srgbClr val="F26B43"/>
          </p15:clr>
        </p15:guide>
        <p15:guide id="2" pos="7344">
          <p15:clr>
            <a:srgbClr val="F26B43"/>
          </p15:clr>
        </p15:guide>
        <p15:guide id="3" orient="horz" pos="1147">
          <p15:clr>
            <a:srgbClr val="F26B43"/>
          </p15:clr>
        </p15:guide>
        <p15:guide id="4" orient="horz" pos="4002">
          <p15:clr>
            <a:srgbClr val="F26B43"/>
          </p15:clr>
        </p15:guide>
        <p15:guide id="5" orient="horz" pos="2160">
          <p15:clr>
            <a:srgbClr val="F26B43"/>
          </p15:clr>
        </p15:guide>
        <p15:guide id="6" orient="horz" pos="3408">
          <p15:clr>
            <a:srgbClr val="F26B43"/>
          </p15:clr>
        </p15:guide>
        <p15:guide id="7" pos="6178">
          <p15:clr>
            <a:srgbClr val="F26B43"/>
          </p15:clr>
        </p15:guide>
        <p15:guide id="8"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091" y="365126"/>
            <a:ext cx="10514231"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091" y="1825625"/>
            <a:ext cx="10514231"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091" y="6356351"/>
            <a:ext cx="274284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E4D992-CF52-4611-B45D-0EC950D0D631}" type="datetimeFigureOut">
              <a:rPr lang="en-US" smtClean="0"/>
              <a:t>6/7/2024</a:t>
            </a:fld>
            <a:endParaRPr lang="en-US"/>
          </a:p>
        </p:txBody>
      </p:sp>
      <p:sp>
        <p:nvSpPr>
          <p:cNvPr id="5" name="Footer Placeholder 4"/>
          <p:cNvSpPr>
            <a:spLocks noGrp="1"/>
          </p:cNvSpPr>
          <p:nvPr>
            <p:ph type="ftr" sz="quarter" idx="3"/>
          </p:nvPr>
        </p:nvSpPr>
        <p:spPr>
          <a:xfrm>
            <a:off x="4038075" y="6356351"/>
            <a:ext cx="4114264"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09479" y="6356351"/>
            <a:ext cx="274284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9E73CC-E55D-494F-9A9F-5CD3573F4A61}" type="slidenum">
              <a:rPr lang="en-US" smtClean="0"/>
              <a:t>‹#›</a:t>
            </a:fld>
            <a:endParaRPr lang="en-US"/>
          </a:p>
        </p:txBody>
      </p:sp>
    </p:spTree>
    <p:extLst>
      <p:ext uri="{BB962C8B-B14F-4D97-AF65-F5344CB8AC3E}">
        <p14:creationId xmlns:p14="http://schemas.microsoft.com/office/powerpoint/2010/main" val="2177922593"/>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Lst>
  <p:txStyles>
    <p:titleStyle>
      <a:lvl1pPr algn="l" defTabSz="9143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www.bayer.com/" TargetMode="Externa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9.xml"/><Relationship Id="rId7" Type="http://schemas.openxmlformats.org/officeDocument/2006/relationships/image" Target="../media/image10.png"/><Relationship Id="rId2" Type="http://schemas.openxmlformats.org/officeDocument/2006/relationships/slideLayout" Target="../slideLayouts/slideLayout41.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41.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41.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41.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41.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4.xml"/><Relationship Id="rId1" Type="http://schemas.openxmlformats.org/officeDocument/2006/relationships/slideLayout" Target="../slideLayouts/slideLayout41.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5.xml"/><Relationship Id="rId1" Type="http://schemas.openxmlformats.org/officeDocument/2006/relationships/slideLayout" Target="../slideLayouts/slideLayout41.xm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4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48.xml"/><Relationship Id="rId1" Type="http://schemas.openxmlformats.org/officeDocument/2006/relationships/tags" Target="../tags/tag9.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48.xml"/><Relationship Id="rId1" Type="http://schemas.openxmlformats.org/officeDocument/2006/relationships/tags" Target="../tags/tag10.xml"/><Relationship Id="rId5" Type="http://schemas.openxmlformats.org/officeDocument/2006/relationships/image" Target="../media/image26.png"/><Relationship Id="rId4" Type="http://schemas.openxmlformats.org/officeDocument/2006/relationships/hyperlink" Target="http://www.swissmedicinfo/"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41.xml"/><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41.xml"/><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4.xml"/><Relationship Id="rId7" Type="http://schemas.openxmlformats.org/officeDocument/2006/relationships/image" Target="../media/image29.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chart" Target="../charts/chart2.xml"/><Relationship Id="rId5" Type="http://schemas.openxmlformats.org/officeDocument/2006/relationships/notesSlide" Target="../notesSlides/notesSlide4.xml"/><Relationship Id="rId4"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7.png"/><Relationship Id="rId7"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4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41.xml"/><Relationship Id="rId7" Type="http://schemas.openxmlformats.org/officeDocument/2006/relationships/image" Target="../media/image9.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11" Type="http://schemas.openxmlformats.org/officeDocument/2006/relationships/image" Target="../media/image26.png"/><Relationship Id="rId5" Type="http://schemas.openxmlformats.org/officeDocument/2006/relationships/image" Target="../media/image7.png"/><Relationship Id="rId10" Type="http://schemas.openxmlformats.org/officeDocument/2006/relationships/image" Target="../media/image32.png"/><Relationship Id="rId4" Type="http://schemas.openxmlformats.org/officeDocument/2006/relationships/notesSlide" Target="../notesSlides/notesSlide6.xml"/><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1.xml"/><Relationship Id="rId1" Type="http://schemas.openxmlformats.org/officeDocument/2006/relationships/tags" Target="../tags/tag7.xml"/><Relationship Id="rId5" Type="http://schemas.openxmlformats.org/officeDocument/2006/relationships/image" Target="../media/image26.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41.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F2FDF-F5C0-C557-D509-BFC34F2D85BB}"/>
              </a:ext>
            </a:extLst>
          </p:cNvPr>
          <p:cNvSpPr>
            <a:spLocks noGrp="1"/>
          </p:cNvSpPr>
          <p:nvPr>
            <p:ph type="ctrTitle"/>
          </p:nvPr>
        </p:nvSpPr>
        <p:spPr/>
        <p:txBody>
          <a:bodyPr>
            <a:normAutofit/>
          </a:bodyPr>
          <a:lstStyle/>
          <a:p>
            <a:pPr>
              <a:spcBef>
                <a:spcPts val="0"/>
              </a:spcBef>
              <a:defRPr/>
            </a:pPr>
            <a:br>
              <a:rPr lang="en-US" sz="3200" b="0" baseline="30000">
                <a:solidFill>
                  <a:srgbClr val="F26C25"/>
                </a:solidFill>
                <a:latin typeface="Arial" panose="020B0604020202020204" pitchFamily="34" charset="0"/>
                <a:cs typeface="Arial" panose="020B0604020202020204" pitchFamily="34" charset="0"/>
              </a:rPr>
            </a:br>
            <a:endParaRPr lang="de-DE" sz="4000"/>
          </a:p>
        </p:txBody>
      </p:sp>
      <p:sp>
        <p:nvSpPr>
          <p:cNvPr id="4" name="TextBox 1">
            <a:extLst>
              <a:ext uri="{FF2B5EF4-FFF2-40B4-BE49-F238E27FC236}">
                <a16:creationId xmlns:a16="http://schemas.microsoft.com/office/drawing/2014/main" id="{E318CA5D-EFB9-7AA8-1169-605D97874A8B}"/>
              </a:ext>
            </a:extLst>
          </p:cNvPr>
          <p:cNvSpPr txBox="1"/>
          <p:nvPr/>
        </p:nvSpPr>
        <p:spPr>
          <a:xfrm>
            <a:off x="525642" y="6186929"/>
            <a:ext cx="3920778" cy="369320"/>
          </a:xfrm>
          <a:prstGeom prst="rect">
            <a:avLst/>
          </a:prstGeom>
          <a:noFill/>
        </p:spPr>
        <p:txBody>
          <a:bodyPr rot="0" spcFirstLastPara="0" vert="horz" wrap="square" lIns="91428" tIns="45714" rIns="91428" bIns="45714"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54">
              <a:defRPr/>
            </a:pPr>
            <a:r>
              <a:rPr lang="de-DE" sz="900" dirty="0">
                <a:solidFill>
                  <a:schemeClr val="bg1"/>
                </a:solidFill>
                <a:latin typeface="Arial" panose="020B0604020202020204" pitchFamily="34" charset="0"/>
                <a:cs typeface="Arial" panose="020B0604020202020204" pitchFamily="34" charset="0"/>
              </a:rPr>
              <a:t>Bayer (Schweiz) AG </a:t>
            </a:r>
            <a:r>
              <a:rPr lang="de-DE" sz="900" dirty="0" err="1">
                <a:solidFill>
                  <a:schemeClr val="bg1"/>
                </a:solidFill>
                <a:latin typeface="Arial" panose="020B0604020202020204" pitchFamily="34" charset="0"/>
                <a:cs typeface="Arial" panose="020B0604020202020204" pitchFamily="34" charset="0"/>
              </a:rPr>
              <a:t>Uetlibergstrasse</a:t>
            </a:r>
            <a:r>
              <a:rPr lang="de-DE" sz="900" dirty="0">
                <a:solidFill>
                  <a:schemeClr val="bg1"/>
                </a:solidFill>
                <a:latin typeface="Arial" panose="020B0604020202020204" pitchFamily="34" charset="0"/>
                <a:cs typeface="Arial" panose="020B0604020202020204" pitchFamily="34" charset="0"/>
              </a:rPr>
              <a:t> 132 8045 Zürich </a:t>
            </a:r>
            <a:r>
              <a:rPr lang="de-DE" sz="900" dirty="0">
                <a:solidFill>
                  <a:schemeClr val="bg1"/>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www.bayer.com</a:t>
            </a:r>
            <a:br>
              <a:rPr lang="de-DE" sz="900">
                <a:solidFill>
                  <a:schemeClr val="bg1"/>
                </a:solidFill>
                <a:latin typeface="Arial" panose="020B0604020202020204" pitchFamily="34" charset="0"/>
                <a:cs typeface="Arial" panose="020B0604020202020204" pitchFamily="34" charset="0"/>
              </a:rPr>
            </a:br>
            <a:r>
              <a:rPr lang="de-DE" sz="900">
                <a:solidFill>
                  <a:schemeClr val="bg1"/>
                </a:solidFill>
                <a:latin typeface="Arial" panose="020B0604020202020204" pitchFamily="34" charset="0"/>
                <a:cs typeface="Arial" panose="020B0604020202020204" pitchFamily="34" charset="0"/>
              </a:rPr>
              <a:t>PP-NUB-CH-0282-1_06.2024</a:t>
            </a:r>
          </a:p>
        </p:txBody>
      </p:sp>
      <p:sp>
        <p:nvSpPr>
          <p:cNvPr id="6" name="TextBox 5">
            <a:extLst>
              <a:ext uri="{FF2B5EF4-FFF2-40B4-BE49-F238E27FC236}">
                <a16:creationId xmlns:a16="http://schemas.microsoft.com/office/drawing/2014/main" id="{616B8479-4D96-12BB-C809-95B52771AF9A}"/>
              </a:ext>
            </a:extLst>
          </p:cNvPr>
          <p:cNvSpPr txBox="1"/>
          <p:nvPr/>
        </p:nvSpPr>
        <p:spPr bwMode="gray">
          <a:xfrm>
            <a:off x="525642" y="670461"/>
            <a:ext cx="7155710" cy="3970318"/>
          </a:xfrm>
          <a:prstGeom prst="rect">
            <a:avLst/>
          </a:prstGeom>
          <a:noFill/>
        </p:spPr>
        <p:txBody>
          <a:bodyPr wrap="square">
            <a:spAutoFit/>
          </a:bodyPr>
          <a:lstStyle/>
          <a:p>
            <a:r>
              <a:rPr kumimoji="0" lang="en-US" sz="2800" b="1" i="0" u="none" strike="noStrike" kern="1200" cap="none" spc="0" normalizeH="0" baseline="0" noProof="0">
                <a:ln>
                  <a:noFill/>
                </a:ln>
                <a:solidFill>
                  <a:srgbClr val="FFFFFF"/>
                </a:solidFill>
                <a:effectLst/>
                <a:uLnTx/>
                <a:uFillTx/>
                <a:latin typeface="Arial"/>
                <a:cs typeface="Arial"/>
              </a:rPr>
              <a:t>Deep and Durable Prostate-specific Antigen Response to Darolutamide with Androgen Deprivation Therapy and Docetaxel, and Association with Clinical Outcomes for Patients with High- or Low-volume Metastatic Hormone-sensitive Prostate Cancer: </a:t>
            </a:r>
          </a:p>
          <a:p>
            <a:r>
              <a:rPr kumimoji="0" lang="en-US" sz="2800" b="0" i="0" u="none" strike="noStrike" kern="1200" cap="none" spc="0" normalizeH="0" baseline="0" noProof="0">
                <a:ln>
                  <a:noFill/>
                </a:ln>
                <a:solidFill>
                  <a:srgbClr val="FFFFFF"/>
                </a:solidFill>
                <a:effectLst/>
                <a:uLnTx/>
                <a:uFillTx/>
                <a:latin typeface="Arial"/>
                <a:cs typeface="Arial"/>
              </a:rPr>
              <a:t>Analyses of the Randomized Phase 3 ARASENS Study</a:t>
            </a:r>
            <a:endParaRPr lang="de-DE"/>
          </a:p>
        </p:txBody>
      </p:sp>
    </p:spTree>
    <p:extLst>
      <p:ext uri="{BB962C8B-B14F-4D97-AF65-F5344CB8AC3E}">
        <p14:creationId xmlns:p14="http://schemas.microsoft.com/office/powerpoint/2010/main" val="24773212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7AA028E-DAF8-903B-1D26-812846830BAC}"/>
              </a:ext>
            </a:extLst>
          </p:cNvPr>
          <p:cNvSpPr>
            <a:spLocks noGrp="1"/>
          </p:cNvSpPr>
          <p:nvPr>
            <p:ph type="ftr" sz="quarter" idx="11"/>
          </p:nvPr>
        </p:nvSpPr>
        <p:spPr>
          <a:xfrm>
            <a:off x="460038" y="6356351"/>
            <a:ext cx="9492035" cy="365125"/>
          </a:xfrm>
        </p:spPr>
        <p:txBody>
          <a:bodyPr/>
          <a:lstStyle/>
          <a:p>
            <a:pPr algn="l" defTabSz="914309">
              <a:defRPr/>
            </a:pPr>
            <a:r>
              <a:rPr lang="en-US" sz="800" b="0" dirty="0">
                <a:solidFill>
                  <a:schemeClr val="accent5"/>
                </a:solidFill>
                <a:latin typeface="Arial"/>
                <a:ea typeface="Arial Unicode MS"/>
                <a:cs typeface="Arial"/>
              </a:rPr>
              <a:t>ADT, androgen deprivation therapy; DARO, </a:t>
            </a:r>
            <a:r>
              <a:rPr lang="en-US" sz="800" b="0" dirty="0" err="1">
                <a:solidFill>
                  <a:schemeClr val="accent5"/>
                </a:solidFill>
                <a:latin typeface="Arial"/>
                <a:ea typeface="Arial Unicode MS"/>
                <a:cs typeface="Arial"/>
              </a:rPr>
              <a:t>darolutamide</a:t>
            </a:r>
            <a:r>
              <a:rPr lang="en-US" sz="800" b="0" dirty="0">
                <a:solidFill>
                  <a:schemeClr val="accent5"/>
                </a:solidFill>
                <a:latin typeface="Arial"/>
                <a:ea typeface="Arial Unicode MS"/>
                <a:cs typeface="Arial"/>
              </a:rPr>
              <a:t>; DOC, docetaxel; PBO, placebo; PSA, prostate-specific antigen; PSA90, ≥90% decline in PSA from baseline.</a:t>
            </a:r>
          </a:p>
          <a:p>
            <a:pPr algn="l" defTabSz="914309">
              <a:lnSpc>
                <a:spcPct val="150000"/>
              </a:lnSpc>
              <a:defRPr/>
            </a:pPr>
            <a:r>
              <a:rPr lang="en-US" sz="800" b="0" dirty="0">
                <a:solidFill>
                  <a:schemeClr val="accent5"/>
                </a:solidFill>
                <a:latin typeface="Arial"/>
                <a:ea typeface="Arial Unicode MS"/>
                <a:cs typeface="Arial"/>
              </a:rPr>
              <a:t>1. Saad et al. ESMO 2023, Abstract 1784P</a:t>
            </a:r>
            <a:r>
              <a:rPr lang="en-US" sz="800" b="0">
                <a:solidFill>
                  <a:schemeClr val="accent5"/>
                </a:solidFill>
                <a:latin typeface="Arial"/>
                <a:ea typeface="Arial Unicode MS"/>
                <a:cs typeface="Arial"/>
              </a:rPr>
              <a:t>. 3.</a:t>
            </a:r>
            <a:r>
              <a:rPr lang="en-US" sz="800" b="0" dirty="0">
                <a:solidFill>
                  <a:schemeClr val="accent5"/>
                </a:solidFill>
                <a:latin typeface="Arial"/>
                <a:ea typeface="Arial Unicode MS"/>
                <a:cs typeface="Arial"/>
              </a:rPr>
              <a:t>Saad F, et. al  Eur Urol. 2024 Apr 20:S0302-2838(24)02264-4. </a:t>
            </a:r>
            <a:r>
              <a:rPr lang="en-US" sz="800" b="0" dirty="0" err="1">
                <a:solidFill>
                  <a:schemeClr val="accent5"/>
                </a:solidFill>
                <a:latin typeface="Arial"/>
                <a:ea typeface="Arial Unicode MS"/>
                <a:cs typeface="Arial"/>
              </a:rPr>
              <a:t>doi</a:t>
            </a:r>
            <a:r>
              <a:rPr lang="en-US" sz="800" b="0" dirty="0">
                <a:solidFill>
                  <a:schemeClr val="accent5"/>
                </a:solidFill>
                <a:latin typeface="Arial"/>
                <a:ea typeface="Arial Unicode MS"/>
                <a:cs typeface="Arial"/>
              </a:rPr>
              <a:t>: 10.1016/j.eururo.2024.03.036. PMID: 38644146.</a:t>
            </a:r>
          </a:p>
          <a:p>
            <a:pPr algn="l" defTabSz="914309">
              <a:defRPr/>
            </a:pPr>
            <a:endParaRPr lang="en-US" sz="800" b="0" dirty="0">
              <a:solidFill>
                <a:schemeClr val="accent5"/>
              </a:solidFill>
              <a:latin typeface="Arial"/>
              <a:ea typeface="Arial Unicode MS"/>
              <a:cs typeface="Arial"/>
            </a:endParaRPr>
          </a:p>
        </p:txBody>
      </p:sp>
      <p:sp>
        <p:nvSpPr>
          <p:cNvPr id="5" name="Titel 4">
            <a:extLst>
              <a:ext uri="{FF2B5EF4-FFF2-40B4-BE49-F238E27FC236}">
                <a16:creationId xmlns:a16="http://schemas.microsoft.com/office/drawing/2014/main" id="{E70F52E1-0DA6-8D50-3336-469562D0635B}"/>
              </a:ext>
            </a:extLst>
          </p:cNvPr>
          <p:cNvSpPr>
            <a:spLocks noGrp="1"/>
          </p:cNvSpPr>
          <p:nvPr>
            <p:ph type="title"/>
          </p:nvPr>
        </p:nvSpPr>
        <p:spPr>
          <a:xfrm>
            <a:off x="495236" y="125128"/>
            <a:ext cx="9276086" cy="890872"/>
          </a:xfrm>
        </p:spPr>
        <p:txBody>
          <a:bodyPr>
            <a:noAutofit/>
          </a:bodyPr>
          <a:lstStyle/>
          <a:p>
            <a:r>
              <a:rPr lang="en-US" sz="2300" dirty="0"/>
              <a:t>ARASENS: Time to PSA Progression in High- and Low‑</a:t>
            </a:r>
            <a:r>
              <a:rPr lang="en-US" sz="2300"/>
              <a:t>Volume Patients</a:t>
            </a:r>
            <a:endParaRPr lang="de-DE" sz="2300" dirty="0"/>
          </a:p>
        </p:txBody>
      </p:sp>
      <p:sp>
        <p:nvSpPr>
          <p:cNvPr id="2" name="Text Placeholder 1">
            <a:extLst>
              <a:ext uri="{FF2B5EF4-FFF2-40B4-BE49-F238E27FC236}">
                <a16:creationId xmlns:a16="http://schemas.microsoft.com/office/drawing/2014/main" id="{BBC5BA38-FFB0-443A-B40E-7511398C2ED8}"/>
              </a:ext>
            </a:extLst>
          </p:cNvPr>
          <p:cNvSpPr>
            <a:spLocks noGrp="1"/>
          </p:cNvSpPr>
          <p:nvPr>
            <p:ph type="body" sz="quarter" idx="4294967295"/>
          </p:nvPr>
        </p:nvSpPr>
        <p:spPr>
          <a:xfrm>
            <a:off x="0" y="1295400"/>
            <a:ext cx="11191875" cy="4991100"/>
          </a:xfrm>
        </p:spPr>
        <p:txBody>
          <a:bodyPr/>
          <a:lstStyle/>
          <a:p>
            <a:pPr marL="270000" lvl="2" indent="0">
              <a:buNone/>
            </a:pPr>
            <a:endParaRPr lang="en-US" sz="1400" dirty="0">
              <a:latin typeface="Arial" panose="020B0604020202020204" pitchFamily="34" charset="0"/>
            </a:endParaRPr>
          </a:p>
          <a:p>
            <a:pPr lvl="2"/>
            <a:endParaRPr lang="en-US" sz="1400" dirty="0">
              <a:latin typeface="Arial" panose="020B0604020202020204" pitchFamily="34" charset="0"/>
            </a:endParaRPr>
          </a:p>
          <a:p>
            <a:pPr lvl="2"/>
            <a:endParaRPr lang="en-US" sz="1400" dirty="0">
              <a:latin typeface="Arial" panose="020B0604020202020204" pitchFamily="34" charset="0"/>
            </a:endParaRPr>
          </a:p>
          <a:p>
            <a:pPr lvl="2"/>
            <a:endParaRPr lang="en-US" sz="1400" dirty="0">
              <a:latin typeface="Arial" panose="020B0604020202020204" pitchFamily="34" charset="0"/>
            </a:endParaRPr>
          </a:p>
          <a:p>
            <a:pPr marL="269973" lvl="2" indent="0">
              <a:buNone/>
            </a:pPr>
            <a:endParaRPr lang="en-US" sz="1400" baseline="30000" dirty="0">
              <a:latin typeface="Arial" panose="020B0604020202020204" pitchFamily="34" charset="0"/>
            </a:endParaRPr>
          </a:p>
        </p:txBody>
      </p:sp>
      <p:sp>
        <p:nvSpPr>
          <p:cNvPr id="19" name="Text Placeholder 4">
            <a:extLst>
              <a:ext uri="{FF2B5EF4-FFF2-40B4-BE49-F238E27FC236}">
                <a16:creationId xmlns:a16="http://schemas.microsoft.com/office/drawing/2014/main" id="{FFE2F858-B106-4080-B0F3-7634B8215CF3}"/>
              </a:ext>
            </a:extLst>
          </p:cNvPr>
          <p:cNvSpPr txBox="1">
            <a:spLocks/>
          </p:cNvSpPr>
          <p:nvPr/>
        </p:nvSpPr>
        <p:spPr>
          <a:xfrm>
            <a:off x="460039" y="1239912"/>
            <a:ext cx="7331224" cy="4809363"/>
          </a:xfrm>
          <a:prstGeom prst="rect">
            <a:avLst/>
          </a:prstGeom>
        </p:spPr>
        <p:txBody>
          <a:bodyPr lIns="91428" tIns="45714" rIns="91428" bIns="45714" anchor="t"/>
          <a:lstStyle>
            <a:lvl1pPr marL="0" indent="0" algn="l" defTabSz="914400" rtl="0" eaLnBrk="1" latinLnBrk="0" hangingPunct="1">
              <a:spcBef>
                <a:spcPts val="1200"/>
              </a:spcBef>
              <a:spcAft>
                <a:spcPts val="600"/>
              </a:spcAft>
              <a:buFont typeface="Arial" panose="020B0604020202020204" pitchFamily="34" charset="0"/>
              <a:buNone/>
              <a:defRPr sz="1800" b="0" kern="1200" baseline="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6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4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a:lstStyle>
          <a:p>
            <a:pPr marL="269848" lvl="1" indent="-269848" defTabSz="914218">
              <a:lnSpc>
                <a:spcPct val="90000"/>
              </a:lnSpc>
              <a:spcBef>
                <a:spcPts val="200"/>
              </a:spcBef>
              <a:spcAft>
                <a:spcPts val="200"/>
              </a:spcAft>
              <a:defRPr/>
            </a:pPr>
            <a:endParaRPr lang="en-US" sz="1200">
              <a:solidFill>
                <a:srgbClr val="000000"/>
              </a:solidFill>
              <a:latin typeface="Arial"/>
              <a:ea typeface="Arial Unicode MS"/>
              <a:cs typeface="Arial"/>
            </a:endParaRPr>
          </a:p>
        </p:txBody>
      </p:sp>
      <p:sp>
        <p:nvSpPr>
          <p:cNvPr id="12" name="Rectangle 11">
            <a:extLst>
              <a:ext uri="{FF2B5EF4-FFF2-40B4-BE49-F238E27FC236}">
                <a16:creationId xmlns:a16="http://schemas.microsoft.com/office/drawing/2014/main" id="{96A7B586-68BC-ED77-CC4A-81C9CD82890F}"/>
              </a:ext>
            </a:extLst>
          </p:cNvPr>
          <p:cNvSpPr/>
          <p:nvPr>
            <p:custDataLst>
              <p:tags r:id="rId1"/>
            </p:custDataLst>
          </p:nvPr>
        </p:nvSpPr>
        <p:spPr bwMode="gray">
          <a:xfrm>
            <a:off x="1343044" y="1343933"/>
            <a:ext cx="9935948" cy="276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09">
              <a:defRPr/>
            </a:pPr>
            <a:r>
              <a:rPr lang="en-US" sz="1200" b="1">
                <a:solidFill>
                  <a:schemeClr val="tx1"/>
                </a:solidFill>
                <a:latin typeface="Arial"/>
                <a:ea typeface="Arial Unicode MS"/>
                <a:cs typeface="Arial"/>
              </a:rPr>
              <a:t>Time to PSA progression by disease volume subgroups</a:t>
            </a:r>
          </a:p>
        </p:txBody>
      </p:sp>
      <p:sp>
        <p:nvSpPr>
          <p:cNvPr id="8" name="TextBox 7">
            <a:extLst>
              <a:ext uri="{FF2B5EF4-FFF2-40B4-BE49-F238E27FC236}">
                <a16:creationId xmlns:a16="http://schemas.microsoft.com/office/drawing/2014/main" id="{AF0E4D8E-3A8E-A5DD-FF4D-6D4475133D8E}"/>
              </a:ext>
            </a:extLst>
          </p:cNvPr>
          <p:cNvSpPr txBox="1"/>
          <p:nvPr/>
        </p:nvSpPr>
        <p:spPr bwMode="gray">
          <a:xfrm>
            <a:off x="235741" y="5129630"/>
            <a:ext cx="11494633" cy="1292649"/>
          </a:xfrm>
          <a:prstGeom prst="rect">
            <a:avLst/>
          </a:prstGeom>
          <a:noFill/>
        </p:spPr>
        <p:txBody>
          <a:bodyPr wrap="square" lIns="91428" tIns="45714" rIns="91428" bIns="45714" anchor="t">
            <a:spAutoFit/>
          </a:bodyPr>
          <a:lstStyle/>
          <a:p>
            <a:pPr marL="555598" lvl="2" indent="-285750" defTabSz="914309">
              <a:spcAft>
                <a:spcPts val="300"/>
              </a:spcAft>
              <a:buFont typeface="Courier New" panose="02070309020205020404" pitchFamily="49" charset="0"/>
              <a:buChar char="o"/>
            </a:pPr>
            <a:r>
              <a:rPr lang="en-US" sz="1400" dirty="0">
                <a:latin typeface="Arial"/>
                <a:ea typeface="Arial Unicode MS"/>
                <a:cs typeface="Arial"/>
              </a:rPr>
              <a:t>Patients who received </a:t>
            </a:r>
            <a:r>
              <a:rPr lang="en-US" sz="1400" dirty="0" err="1">
                <a:latin typeface="Arial"/>
                <a:ea typeface="Arial Unicode MS"/>
                <a:cs typeface="Arial"/>
              </a:rPr>
              <a:t>darolutamide</a:t>
            </a:r>
            <a:r>
              <a:rPr lang="en-US" sz="1400" dirty="0">
                <a:latin typeface="Arial"/>
                <a:ea typeface="Arial Unicode MS"/>
                <a:cs typeface="Arial"/>
              </a:rPr>
              <a:t> and achieved undetectable PSA had improved time to PSA progression vs those who did not achieve undetectable PSA independent of the disease volume</a:t>
            </a:r>
            <a:endParaRPr lang="en-US" dirty="0">
              <a:latin typeface="Arial"/>
              <a:ea typeface="Arial Unicode MS"/>
              <a:cs typeface="Arial"/>
            </a:endParaRPr>
          </a:p>
          <a:p>
            <a:pPr marL="555750" marR="0" lvl="2" indent="-2857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400" b="0" i="0" u="none" strike="noStrike" kern="1200" cap="none" spc="0" normalizeH="0" baseline="0" noProof="0" dirty="0">
                <a:ln>
                  <a:noFill/>
                </a:ln>
                <a:effectLst/>
                <a:uLnTx/>
                <a:uFillTx/>
                <a:latin typeface="Arial"/>
                <a:cs typeface="Arial"/>
              </a:rPr>
              <a:t>PSA progression-free rates at 4 years were higher with </a:t>
            </a:r>
            <a:r>
              <a:rPr kumimoji="0" lang="en-US" sz="1400" b="0" i="0" u="none" strike="noStrike" kern="1200" cap="none" spc="0" normalizeH="0" baseline="0" noProof="0" dirty="0" err="1">
                <a:ln>
                  <a:noFill/>
                </a:ln>
                <a:effectLst/>
                <a:uLnTx/>
                <a:uFillTx/>
                <a:latin typeface="Arial"/>
                <a:cs typeface="Arial"/>
              </a:rPr>
              <a:t>darolutamide</a:t>
            </a:r>
            <a:r>
              <a:rPr kumimoji="0" lang="en-US" sz="1400" b="0" i="0" u="none" strike="noStrike" kern="1200" cap="none" spc="0" normalizeH="0" baseline="0" noProof="0" dirty="0">
                <a:ln>
                  <a:noFill/>
                </a:ln>
                <a:effectLst/>
                <a:uLnTx/>
                <a:uFillTx/>
                <a:latin typeface="Arial"/>
                <a:cs typeface="Arial"/>
              </a:rPr>
              <a:t> vs placebo for high-volume (65.8% vs 27.0%) and low-volume (91.7% vs 36.3%) disease</a:t>
            </a:r>
            <a:endParaRPr kumimoji="0" lang="en-US" sz="1400" b="0" i="0" u="none" strike="noStrike" kern="1200" cap="none" spc="0" normalizeH="0" baseline="0" noProof="0" dirty="0">
              <a:ln>
                <a:noFill/>
              </a:ln>
              <a:effectLst/>
              <a:uLnTx/>
              <a:uFillTx/>
              <a:latin typeface="Arial" panose="020B0604020202020204" pitchFamily="34" charset="0"/>
              <a:cs typeface="Arial"/>
            </a:endParaRPr>
          </a:p>
          <a:p>
            <a:pPr marL="539650" lvl="2" indent="-269848" defTabSz="914309">
              <a:spcAft>
                <a:spcPts val="300"/>
              </a:spcAft>
              <a:buFont typeface="Courier New" panose="02070309020205020404" pitchFamily="49" charset="0"/>
              <a:buChar char="o"/>
            </a:pPr>
            <a:endParaRPr lang="en-US" sz="1200" dirty="0">
              <a:latin typeface="Arial"/>
              <a:ea typeface="Arial Unicode MS"/>
              <a:cs typeface="Arial"/>
            </a:endParaRPr>
          </a:p>
        </p:txBody>
      </p:sp>
      <p:pic>
        <p:nvPicPr>
          <p:cNvPr id="9" name="Picture 8">
            <a:extLst>
              <a:ext uri="{FF2B5EF4-FFF2-40B4-BE49-F238E27FC236}">
                <a16:creationId xmlns:a16="http://schemas.microsoft.com/office/drawing/2014/main" id="{69231E0C-E5AD-DFFF-C3B2-5430D920590E}"/>
              </a:ext>
            </a:extLst>
          </p:cNvPr>
          <p:cNvPicPr>
            <a:picLocks noChangeAspect="1"/>
          </p:cNvPicPr>
          <p:nvPr/>
        </p:nvPicPr>
        <p:blipFill rotWithShape="1">
          <a:blip r:embed="rId8"/>
          <a:srcRect l="51311" t="1420"/>
          <a:stretch/>
        </p:blipFill>
        <p:spPr>
          <a:xfrm>
            <a:off x="6345466" y="1681902"/>
            <a:ext cx="5082363" cy="3386722"/>
          </a:xfrm>
          <a:prstGeom prst="rect">
            <a:avLst/>
          </a:prstGeom>
        </p:spPr>
      </p:pic>
      <p:pic>
        <p:nvPicPr>
          <p:cNvPr id="10" name="Picture 9">
            <a:extLst>
              <a:ext uri="{FF2B5EF4-FFF2-40B4-BE49-F238E27FC236}">
                <a16:creationId xmlns:a16="http://schemas.microsoft.com/office/drawing/2014/main" id="{A5A219C4-5631-E911-198A-FC0CFFFB9718}"/>
              </a:ext>
            </a:extLst>
          </p:cNvPr>
          <p:cNvPicPr>
            <a:picLocks noChangeAspect="1"/>
          </p:cNvPicPr>
          <p:nvPr/>
        </p:nvPicPr>
        <p:blipFill rotWithShape="1">
          <a:blip r:embed="rId8"/>
          <a:srcRect r="49271"/>
          <a:stretch/>
        </p:blipFill>
        <p:spPr>
          <a:xfrm>
            <a:off x="1025093" y="1680565"/>
            <a:ext cx="5154248" cy="3344002"/>
          </a:xfrm>
          <a:prstGeom prst="rect">
            <a:avLst/>
          </a:prstGeom>
        </p:spPr>
      </p:pic>
      <p:pic>
        <p:nvPicPr>
          <p:cNvPr id="3" name="Picture 2">
            <a:extLst>
              <a:ext uri="{FF2B5EF4-FFF2-40B4-BE49-F238E27FC236}">
                <a16:creationId xmlns:a16="http://schemas.microsoft.com/office/drawing/2014/main" id="{B154B143-975E-B984-ACCA-4994A0F09C50}"/>
              </a:ext>
            </a:extLst>
          </p:cNvPr>
          <p:cNvPicPr>
            <a:picLocks noChangeAspect="1"/>
          </p:cNvPicPr>
          <p:nvPr/>
        </p:nvPicPr>
        <p:blipFill>
          <a:blip r:embed="rId9"/>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13614541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BFB5D-015A-4B8B-01C2-E9E57D981A02}"/>
            </a:ext>
          </a:extLst>
        </p:cNvPr>
        <p:cNvGrpSpPr/>
        <p:nvPr/>
      </p:nvGrpSpPr>
      <p:grpSpPr>
        <a:xfrm>
          <a:off x="0" y="0"/>
          <a:ext cx="0" cy="0"/>
          <a:chOff x="0" y="0"/>
          <a:chExt cx="0" cy="0"/>
        </a:xfrm>
      </p:grpSpPr>
      <p:sp>
        <p:nvSpPr>
          <p:cNvPr id="23" name="Footer Placeholder 4">
            <a:extLst>
              <a:ext uri="{FF2B5EF4-FFF2-40B4-BE49-F238E27FC236}">
                <a16:creationId xmlns:a16="http://schemas.microsoft.com/office/drawing/2014/main" id="{E1FC56DB-9C53-B332-772C-0AE7003C0B2D}"/>
              </a:ext>
            </a:extLst>
          </p:cNvPr>
          <p:cNvSpPr txBox="1">
            <a:spLocks/>
          </p:cNvSpPr>
          <p:nvPr/>
        </p:nvSpPr>
        <p:spPr>
          <a:xfrm>
            <a:off x="495235" y="6291000"/>
            <a:ext cx="11964692" cy="441872"/>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dirty="0">
                <a:solidFill>
                  <a:srgbClr val="000000">
                    <a:lumMod val="50000"/>
                    <a:lumOff val="50000"/>
                  </a:srgbClr>
                </a:solidFill>
              </a:rPr>
              <a:t>3</a:t>
            </a:r>
            <a:r>
              <a:rPr lang="en-US" sz="900">
                <a:solidFill>
                  <a:srgbClr val="000000">
                    <a:lumMod val="50000"/>
                    <a:lumOff val="50000"/>
                  </a:srgbClr>
                </a:solidFill>
              </a:rPr>
              <a:t>. </a:t>
            </a:r>
            <a:r>
              <a:rPr lang="en-US" sz="900" dirty="0">
                <a:solidFill>
                  <a:srgbClr val="000000">
                    <a:lumMod val="50000"/>
                    <a:lumOff val="50000"/>
                  </a:srgbClr>
                </a:solidFill>
              </a:rPr>
              <a:t>Saad et. al. Eur Urol. 2024 Apr 20:S0302-2838(24)02264-4. </a:t>
            </a:r>
            <a:r>
              <a:rPr lang="en-US" sz="900" dirty="0" err="1">
                <a:solidFill>
                  <a:srgbClr val="000000">
                    <a:lumMod val="50000"/>
                    <a:lumOff val="50000"/>
                  </a:srgbClr>
                </a:solidFill>
              </a:rPr>
              <a:t>doi</a:t>
            </a:r>
            <a:r>
              <a:rPr lang="en-US" sz="900" dirty="0">
                <a:solidFill>
                  <a:srgbClr val="000000">
                    <a:lumMod val="50000"/>
                    <a:lumOff val="50000"/>
                  </a:srgbClr>
                </a:solidFill>
              </a:rPr>
              <a:t>: 10.1016/j.eururo.2024.03.036</a:t>
            </a:r>
            <a:endParaRPr lang="en-US" sz="900" dirty="0">
              <a:solidFill>
                <a:schemeClr val="tx1">
                  <a:lumMod val="50000"/>
                  <a:lumOff val="50000"/>
                </a:schemeClr>
              </a:solidFill>
            </a:endParaRPr>
          </a:p>
        </p:txBody>
      </p:sp>
      <p:sp>
        <p:nvSpPr>
          <p:cNvPr id="31" name="Title 3">
            <a:extLst>
              <a:ext uri="{FF2B5EF4-FFF2-40B4-BE49-F238E27FC236}">
                <a16:creationId xmlns:a16="http://schemas.microsoft.com/office/drawing/2014/main" id="{B16C0288-AD32-EAC2-186D-A431F47339AF}"/>
              </a:ext>
            </a:extLst>
          </p:cNvPr>
          <p:cNvSpPr>
            <a:spLocks noGrp="1"/>
          </p:cNvSpPr>
          <p:nvPr>
            <p:ph type="title"/>
          </p:nvPr>
        </p:nvSpPr>
        <p:spPr/>
        <p:txBody>
          <a:bodyPr anchor="ctr">
            <a:normAutofit/>
          </a:bodyPr>
          <a:lstStyle/>
          <a:p>
            <a:r>
              <a:rPr lang="en-US" sz="2300" dirty="0"/>
              <a:t>ARASENS: Time to </a:t>
            </a:r>
            <a:r>
              <a:rPr lang="en-US" sz="2300"/>
              <a:t>PSA Progression</a:t>
            </a:r>
            <a:endParaRPr lang="en-US" sz="2300" baseline="30000" dirty="0"/>
          </a:p>
        </p:txBody>
      </p:sp>
      <p:pic>
        <p:nvPicPr>
          <p:cNvPr id="4" name="Grafik 3">
            <a:extLst>
              <a:ext uri="{FF2B5EF4-FFF2-40B4-BE49-F238E27FC236}">
                <a16:creationId xmlns:a16="http://schemas.microsoft.com/office/drawing/2014/main" id="{2ADE7833-EF49-030B-484C-3E714A0DA682}"/>
              </a:ext>
            </a:extLst>
          </p:cNvPr>
          <p:cNvPicPr>
            <a:picLocks noChangeAspect="1"/>
          </p:cNvPicPr>
          <p:nvPr/>
        </p:nvPicPr>
        <p:blipFill>
          <a:blip r:embed="rId3"/>
          <a:stretch>
            <a:fillRect/>
          </a:stretch>
        </p:blipFill>
        <p:spPr>
          <a:xfrm>
            <a:off x="1062894" y="1268791"/>
            <a:ext cx="10055879" cy="4400705"/>
          </a:xfrm>
          <a:prstGeom prst="rect">
            <a:avLst/>
          </a:prstGeom>
        </p:spPr>
      </p:pic>
      <p:sp>
        <p:nvSpPr>
          <p:cNvPr id="6" name="Textfeld 5">
            <a:extLst>
              <a:ext uri="{FF2B5EF4-FFF2-40B4-BE49-F238E27FC236}">
                <a16:creationId xmlns:a16="http://schemas.microsoft.com/office/drawing/2014/main" id="{274FB33D-9E12-4006-FFA6-6070F81A8997}"/>
              </a:ext>
            </a:extLst>
          </p:cNvPr>
          <p:cNvSpPr txBox="1"/>
          <p:nvPr/>
        </p:nvSpPr>
        <p:spPr bwMode="gray">
          <a:xfrm>
            <a:off x="1242059" y="5753316"/>
            <a:ext cx="9745981" cy="707886"/>
          </a:xfrm>
          <a:prstGeom prst="rect">
            <a:avLst/>
          </a:prstGeom>
          <a:noFill/>
        </p:spPr>
        <p:txBody>
          <a:bodyPr wrap="square">
            <a:spAutoFit/>
          </a:bodyPr>
          <a:lstStyle/>
          <a:p>
            <a:r>
              <a:rPr lang="en-US" sz="1000" dirty="0"/>
              <a:t>Fig. 1 – Time to PSA progression in the disease volume subgroups. Data cutoff October 25, 2021. High-volume disease is defined according to the CHAARTED criteria as the presence of visceral metastases or at least four bone lesions, with at least one beyond the vertebral bodies and pelvis. </a:t>
            </a:r>
          </a:p>
          <a:p>
            <a:r>
              <a:rPr lang="en-US" sz="1000" dirty="0"/>
              <a:t>ADT = androgen deprivation therapy; CI = confidence interval; HR = hazard ratio; NE = not estimable; PSA = prostate-specific antigen. </a:t>
            </a:r>
          </a:p>
          <a:p>
            <a:r>
              <a:rPr lang="en-US" sz="1000" dirty="0"/>
              <a:t>(adapted from Saad et al. Eur </a:t>
            </a:r>
            <a:r>
              <a:rPr lang="en-US" sz="1000" dirty="0" err="1"/>
              <a:t>Urol</a:t>
            </a:r>
            <a:r>
              <a:rPr lang="en-US" sz="1000" dirty="0"/>
              <a:t> 2024)</a:t>
            </a:r>
            <a:endParaRPr lang="de-DE" sz="1000" dirty="0"/>
          </a:p>
        </p:txBody>
      </p:sp>
      <p:pic>
        <p:nvPicPr>
          <p:cNvPr id="2" name="Picture 1">
            <a:extLst>
              <a:ext uri="{FF2B5EF4-FFF2-40B4-BE49-F238E27FC236}">
                <a16:creationId xmlns:a16="http://schemas.microsoft.com/office/drawing/2014/main" id="{1F079B7D-2EE1-1343-77E8-265C410F48E2}"/>
              </a:ext>
            </a:extLst>
          </p:cNvPr>
          <p:cNvPicPr>
            <a:picLocks noChangeAspect="1"/>
          </p:cNvPicPr>
          <p:nvPr/>
        </p:nvPicPr>
        <p:blipFill>
          <a:blip r:embed="rId4"/>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3078018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716F4-B352-E7A5-73F4-CD0C67D1BC03}"/>
            </a:ext>
          </a:extLst>
        </p:cNvPr>
        <p:cNvGrpSpPr/>
        <p:nvPr/>
      </p:nvGrpSpPr>
      <p:grpSpPr>
        <a:xfrm>
          <a:off x="0" y="0"/>
          <a:ext cx="0" cy="0"/>
          <a:chOff x="0" y="0"/>
          <a:chExt cx="0" cy="0"/>
        </a:xfrm>
      </p:grpSpPr>
      <p:sp>
        <p:nvSpPr>
          <p:cNvPr id="23" name="Footer Placeholder 4">
            <a:extLst>
              <a:ext uri="{FF2B5EF4-FFF2-40B4-BE49-F238E27FC236}">
                <a16:creationId xmlns:a16="http://schemas.microsoft.com/office/drawing/2014/main" id="{9FED8205-E328-3228-8AAA-91D06CF954E0}"/>
              </a:ext>
            </a:extLst>
          </p:cNvPr>
          <p:cNvSpPr txBox="1">
            <a:spLocks/>
          </p:cNvSpPr>
          <p:nvPr/>
        </p:nvSpPr>
        <p:spPr>
          <a:xfrm>
            <a:off x="225721" y="6327593"/>
            <a:ext cx="11964692" cy="441872"/>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dirty="0">
                <a:solidFill>
                  <a:srgbClr val="000000">
                    <a:lumMod val="50000"/>
                    <a:lumOff val="50000"/>
                  </a:srgbClr>
                </a:solidFill>
              </a:rPr>
              <a:t>3</a:t>
            </a:r>
            <a:r>
              <a:rPr lang="en-US" sz="900">
                <a:solidFill>
                  <a:srgbClr val="000000">
                    <a:lumMod val="50000"/>
                    <a:lumOff val="50000"/>
                  </a:srgbClr>
                </a:solidFill>
              </a:rPr>
              <a:t>. </a:t>
            </a:r>
            <a:r>
              <a:rPr lang="en-US" sz="900" dirty="0">
                <a:solidFill>
                  <a:srgbClr val="000000">
                    <a:lumMod val="50000"/>
                    <a:lumOff val="50000"/>
                  </a:srgbClr>
                </a:solidFill>
              </a:rPr>
              <a:t>Saad et. al. Eur Urol. 2024 Apr 20:S0302-2838(24)02264-4. </a:t>
            </a:r>
            <a:r>
              <a:rPr lang="en-US" sz="900" dirty="0" err="1">
                <a:solidFill>
                  <a:srgbClr val="000000">
                    <a:lumMod val="50000"/>
                    <a:lumOff val="50000"/>
                  </a:srgbClr>
                </a:solidFill>
              </a:rPr>
              <a:t>doi</a:t>
            </a:r>
            <a:r>
              <a:rPr lang="en-US" sz="900" dirty="0">
                <a:solidFill>
                  <a:srgbClr val="000000">
                    <a:lumMod val="50000"/>
                    <a:lumOff val="50000"/>
                  </a:srgbClr>
                </a:solidFill>
              </a:rPr>
              <a:t>: 10.1016/j.eururo.2024.03.036</a:t>
            </a:r>
            <a:endParaRPr lang="en-US" sz="900" dirty="0">
              <a:solidFill>
                <a:schemeClr val="tx1">
                  <a:lumMod val="50000"/>
                  <a:lumOff val="50000"/>
                </a:schemeClr>
              </a:solidFill>
            </a:endParaRPr>
          </a:p>
        </p:txBody>
      </p:sp>
      <p:sp>
        <p:nvSpPr>
          <p:cNvPr id="31" name="Title 3">
            <a:extLst>
              <a:ext uri="{FF2B5EF4-FFF2-40B4-BE49-F238E27FC236}">
                <a16:creationId xmlns:a16="http://schemas.microsoft.com/office/drawing/2014/main" id="{AC764F7D-529C-311D-DBA6-BF182EA1952A}"/>
              </a:ext>
            </a:extLst>
          </p:cNvPr>
          <p:cNvSpPr>
            <a:spLocks noGrp="1"/>
          </p:cNvSpPr>
          <p:nvPr>
            <p:ph type="title"/>
          </p:nvPr>
        </p:nvSpPr>
        <p:spPr/>
        <p:txBody>
          <a:bodyPr anchor="ctr">
            <a:normAutofit/>
          </a:bodyPr>
          <a:lstStyle/>
          <a:p>
            <a:r>
              <a:rPr lang="en-US" sz="2300" dirty="0"/>
              <a:t>ARASENS: Association of PSA response and Time to PSA progression</a:t>
            </a:r>
            <a:endParaRPr lang="en-US" sz="2300" baseline="30000" dirty="0"/>
          </a:p>
        </p:txBody>
      </p:sp>
      <p:sp>
        <p:nvSpPr>
          <p:cNvPr id="6" name="Textfeld 5">
            <a:extLst>
              <a:ext uri="{FF2B5EF4-FFF2-40B4-BE49-F238E27FC236}">
                <a16:creationId xmlns:a16="http://schemas.microsoft.com/office/drawing/2014/main" id="{CA9588BF-0D67-9E31-E096-198F0B00F22C}"/>
              </a:ext>
            </a:extLst>
          </p:cNvPr>
          <p:cNvSpPr txBox="1"/>
          <p:nvPr/>
        </p:nvSpPr>
        <p:spPr bwMode="gray">
          <a:xfrm>
            <a:off x="8181364" y="3959408"/>
            <a:ext cx="3692305" cy="1785104"/>
          </a:xfrm>
          <a:prstGeom prst="rect">
            <a:avLst/>
          </a:prstGeom>
          <a:noFill/>
        </p:spPr>
        <p:txBody>
          <a:bodyPr wrap="square">
            <a:spAutoFit/>
          </a:bodyPr>
          <a:lstStyle/>
          <a:p>
            <a:pPr algn="just"/>
            <a:r>
              <a:rPr lang="en-US" sz="1000" dirty="0"/>
              <a:t>Fig. 2 – Association of undetectable PSA (&lt;0.2 ng/ml) versus detectable PSA (≥0.2 ng/ml) with efficacy outcomes in the </a:t>
            </a:r>
            <a:r>
              <a:rPr lang="en-US" sz="1000" dirty="0" err="1"/>
              <a:t>darolutamide</a:t>
            </a:r>
            <a:r>
              <a:rPr lang="en-US" sz="1000" dirty="0"/>
              <a:t> group: (A) overall survival;</a:t>
            </a:r>
          </a:p>
          <a:p>
            <a:pPr algn="just"/>
            <a:r>
              <a:rPr lang="en-US" sz="1000" dirty="0"/>
              <a:t>(B) time to CRPC; and (C) time to PSA progression. High-volume disease is defined according to the CHAARTED criteria as the presence of visceral</a:t>
            </a:r>
          </a:p>
          <a:p>
            <a:pPr algn="just"/>
            <a:r>
              <a:rPr lang="en-US" sz="1000" dirty="0"/>
              <a:t>metastases or at least four bone lesions with at least one beyond the vertebral bodies and pelvis. CI = confidence interval; CRPC = castration-resistant prostate</a:t>
            </a:r>
          </a:p>
          <a:p>
            <a:pPr algn="just"/>
            <a:r>
              <a:rPr lang="en-US" sz="1000" dirty="0"/>
              <a:t>cancer; HR = hazard ratio; NE = not estimable; PSA = prostate-specific antigen.</a:t>
            </a:r>
            <a:endParaRPr lang="de-DE" sz="1000" dirty="0"/>
          </a:p>
        </p:txBody>
      </p:sp>
      <p:pic>
        <p:nvPicPr>
          <p:cNvPr id="3" name="Grafik 2">
            <a:extLst>
              <a:ext uri="{FF2B5EF4-FFF2-40B4-BE49-F238E27FC236}">
                <a16:creationId xmlns:a16="http://schemas.microsoft.com/office/drawing/2014/main" id="{3A5D5731-A982-4FCD-8337-0E61AFFBF222}"/>
              </a:ext>
            </a:extLst>
          </p:cNvPr>
          <p:cNvPicPr>
            <a:picLocks noChangeAspect="1"/>
          </p:cNvPicPr>
          <p:nvPr/>
        </p:nvPicPr>
        <p:blipFill rotWithShape="1">
          <a:blip r:embed="rId3"/>
          <a:srcRect t="5498"/>
          <a:stretch/>
        </p:blipFill>
        <p:spPr>
          <a:xfrm>
            <a:off x="225721" y="1313017"/>
            <a:ext cx="8051726" cy="5103111"/>
          </a:xfrm>
          <a:prstGeom prst="rect">
            <a:avLst/>
          </a:prstGeom>
        </p:spPr>
      </p:pic>
      <p:pic>
        <p:nvPicPr>
          <p:cNvPr id="2" name="Picture 1">
            <a:extLst>
              <a:ext uri="{FF2B5EF4-FFF2-40B4-BE49-F238E27FC236}">
                <a16:creationId xmlns:a16="http://schemas.microsoft.com/office/drawing/2014/main" id="{9F4A35C5-88B1-DC2E-6DF7-C9AA8739E2BB}"/>
              </a:ext>
            </a:extLst>
          </p:cNvPr>
          <p:cNvPicPr>
            <a:picLocks noChangeAspect="1"/>
          </p:cNvPicPr>
          <p:nvPr/>
        </p:nvPicPr>
        <p:blipFill>
          <a:blip r:embed="rId4"/>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3680151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5A68E-389D-A214-FC83-E2882EBA2ECF}"/>
            </a:ext>
          </a:extLst>
        </p:cNvPr>
        <p:cNvGrpSpPr/>
        <p:nvPr/>
      </p:nvGrpSpPr>
      <p:grpSpPr>
        <a:xfrm>
          <a:off x="0" y="0"/>
          <a:ext cx="0" cy="0"/>
          <a:chOff x="0" y="0"/>
          <a:chExt cx="0" cy="0"/>
        </a:xfrm>
      </p:grpSpPr>
      <p:sp>
        <p:nvSpPr>
          <p:cNvPr id="23" name="Footer Placeholder 4">
            <a:extLst>
              <a:ext uri="{FF2B5EF4-FFF2-40B4-BE49-F238E27FC236}">
                <a16:creationId xmlns:a16="http://schemas.microsoft.com/office/drawing/2014/main" id="{3CC83B70-DF18-2BA0-142B-FF7B179F8CC1}"/>
              </a:ext>
            </a:extLst>
          </p:cNvPr>
          <p:cNvSpPr txBox="1">
            <a:spLocks/>
          </p:cNvSpPr>
          <p:nvPr/>
        </p:nvSpPr>
        <p:spPr>
          <a:xfrm>
            <a:off x="295822" y="6291000"/>
            <a:ext cx="11964692" cy="441872"/>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dirty="0">
                <a:solidFill>
                  <a:srgbClr val="000000">
                    <a:lumMod val="50000"/>
                    <a:lumOff val="50000"/>
                  </a:srgbClr>
                </a:solidFill>
              </a:rPr>
              <a:t>3</a:t>
            </a:r>
            <a:r>
              <a:rPr lang="en-US" sz="900">
                <a:solidFill>
                  <a:srgbClr val="000000">
                    <a:lumMod val="50000"/>
                    <a:lumOff val="50000"/>
                  </a:srgbClr>
                </a:solidFill>
              </a:rPr>
              <a:t>. </a:t>
            </a:r>
            <a:r>
              <a:rPr lang="en-US" sz="900" dirty="0">
                <a:solidFill>
                  <a:srgbClr val="000000">
                    <a:lumMod val="50000"/>
                    <a:lumOff val="50000"/>
                  </a:srgbClr>
                </a:solidFill>
              </a:rPr>
              <a:t>Saad et. al. Eur Urol. 2024 Apr 20:S0302-2838(24)02264-4. </a:t>
            </a:r>
            <a:r>
              <a:rPr lang="en-US" sz="900" dirty="0" err="1">
                <a:solidFill>
                  <a:srgbClr val="000000">
                    <a:lumMod val="50000"/>
                    <a:lumOff val="50000"/>
                  </a:srgbClr>
                </a:solidFill>
              </a:rPr>
              <a:t>doi</a:t>
            </a:r>
            <a:r>
              <a:rPr lang="en-US" sz="900" dirty="0">
                <a:solidFill>
                  <a:srgbClr val="000000">
                    <a:lumMod val="50000"/>
                    <a:lumOff val="50000"/>
                  </a:srgbClr>
                </a:solidFill>
              </a:rPr>
              <a:t>: 10.1016/j.eururo.2024.03.036</a:t>
            </a:r>
            <a:endParaRPr lang="en-US" sz="900" dirty="0">
              <a:solidFill>
                <a:schemeClr val="tx1">
                  <a:lumMod val="50000"/>
                  <a:lumOff val="50000"/>
                </a:schemeClr>
              </a:solidFill>
            </a:endParaRPr>
          </a:p>
        </p:txBody>
      </p:sp>
      <p:sp>
        <p:nvSpPr>
          <p:cNvPr id="31" name="Title 3">
            <a:extLst>
              <a:ext uri="{FF2B5EF4-FFF2-40B4-BE49-F238E27FC236}">
                <a16:creationId xmlns:a16="http://schemas.microsoft.com/office/drawing/2014/main" id="{ED71501D-EF17-65E8-4AFA-61FDCDC858AF}"/>
              </a:ext>
            </a:extLst>
          </p:cNvPr>
          <p:cNvSpPr>
            <a:spLocks noGrp="1"/>
          </p:cNvSpPr>
          <p:nvPr>
            <p:ph type="title"/>
          </p:nvPr>
        </p:nvSpPr>
        <p:spPr>
          <a:xfrm>
            <a:off x="495236" y="125128"/>
            <a:ext cx="9233556" cy="890872"/>
          </a:xfrm>
        </p:spPr>
        <p:txBody>
          <a:bodyPr anchor="ctr">
            <a:normAutofit/>
          </a:bodyPr>
          <a:lstStyle/>
          <a:p>
            <a:r>
              <a:rPr lang="en-US" sz="2300" dirty="0"/>
              <a:t>ARASENS: Association of PSA response and Time to CRPC</a:t>
            </a:r>
            <a:endParaRPr lang="en-US" sz="2300" baseline="30000" dirty="0"/>
          </a:p>
        </p:txBody>
      </p:sp>
      <p:sp>
        <p:nvSpPr>
          <p:cNvPr id="6" name="Textfeld 5">
            <a:extLst>
              <a:ext uri="{FF2B5EF4-FFF2-40B4-BE49-F238E27FC236}">
                <a16:creationId xmlns:a16="http://schemas.microsoft.com/office/drawing/2014/main" id="{A7525C8F-C0BE-AD67-E98F-20B24A1F8CD8}"/>
              </a:ext>
            </a:extLst>
          </p:cNvPr>
          <p:cNvSpPr txBox="1"/>
          <p:nvPr/>
        </p:nvSpPr>
        <p:spPr bwMode="gray">
          <a:xfrm>
            <a:off x="8202286" y="4057679"/>
            <a:ext cx="3692305" cy="1785104"/>
          </a:xfrm>
          <a:prstGeom prst="rect">
            <a:avLst/>
          </a:prstGeom>
          <a:noFill/>
        </p:spPr>
        <p:txBody>
          <a:bodyPr wrap="square">
            <a:spAutoFit/>
          </a:bodyPr>
          <a:lstStyle/>
          <a:p>
            <a:pPr algn="just"/>
            <a:r>
              <a:rPr lang="en-US" sz="1000" dirty="0"/>
              <a:t>Fig. 2 – Association of undetectable PSA (&lt;0.2 ng/ml) versus detectable PSA (≥0.2 ng/ml) with efficacy outcomes in the </a:t>
            </a:r>
            <a:r>
              <a:rPr lang="en-US" sz="1000" dirty="0" err="1"/>
              <a:t>darolutamide</a:t>
            </a:r>
            <a:r>
              <a:rPr lang="en-US" sz="1000" dirty="0"/>
              <a:t> group: (A) overall survival;</a:t>
            </a:r>
          </a:p>
          <a:p>
            <a:pPr algn="just"/>
            <a:r>
              <a:rPr lang="en-US" sz="1000" dirty="0"/>
              <a:t>(B) time to CRPC; and (C) time to PSA progression. High-volume disease is defined according to the CHAARTED criteria as the presence of visceral</a:t>
            </a:r>
          </a:p>
          <a:p>
            <a:pPr algn="just"/>
            <a:r>
              <a:rPr lang="en-US" sz="1000" dirty="0"/>
              <a:t>metastases or at least four bone lesions with at least one beyond the vertebral bodies and pelvis. CI = confidence interval; CRPC = castration-resistant prostate</a:t>
            </a:r>
          </a:p>
          <a:p>
            <a:pPr algn="just"/>
            <a:r>
              <a:rPr lang="en-US" sz="1000" dirty="0"/>
              <a:t>cancer; HR = hazard ratio; NE = not estimable; PSA = prostate-specific antigen.</a:t>
            </a:r>
            <a:endParaRPr lang="de-DE" sz="1000" dirty="0"/>
          </a:p>
        </p:txBody>
      </p:sp>
      <p:pic>
        <p:nvPicPr>
          <p:cNvPr id="4" name="Grafik 3">
            <a:extLst>
              <a:ext uri="{FF2B5EF4-FFF2-40B4-BE49-F238E27FC236}">
                <a16:creationId xmlns:a16="http://schemas.microsoft.com/office/drawing/2014/main" id="{E1C585BE-1177-2BD8-5BCA-487D3F5E5854}"/>
              </a:ext>
            </a:extLst>
          </p:cNvPr>
          <p:cNvPicPr>
            <a:picLocks noChangeAspect="1"/>
          </p:cNvPicPr>
          <p:nvPr/>
        </p:nvPicPr>
        <p:blipFill rotWithShape="1">
          <a:blip r:embed="rId3"/>
          <a:srcRect t="6765"/>
          <a:stretch/>
        </p:blipFill>
        <p:spPr>
          <a:xfrm>
            <a:off x="295822" y="1350325"/>
            <a:ext cx="7906464" cy="5034708"/>
          </a:xfrm>
          <a:prstGeom prst="rect">
            <a:avLst/>
          </a:prstGeom>
        </p:spPr>
      </p:pic>
      <p:pic>
        <p:nvPicPr>
          <p:cNvPr id="2" name="Picture 1">
            <a:extLst>
              <a:ext uri="{FF2B5EF4-FFF2-40B4-BE49-F238E27FC236}">
                <a16:creationId xmlns:a16="http://schemas.microsoft.com/office/drawing/2014/main" id="{A79588CE-88EA-123F-683C-51B9C349623F}"/>
              </a:ext>
            </a:extLst>
          </p:cNvPr>
          <p:cNvPicPr>
            <a:picLocks noChangeAspect="1"/>
          </p:cNvPicPr>
          <p:nvPr/>
        </p:nvPicPr>
        <p:blipFill>
          <a:blip r:embed="rId4"/>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40572132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F5D688-A686-162B-E40D-983E75CF434F}"/>
            </a:ext>
          </a:extLst>
        </p:cNvPr>
        <p:cNvGrpSpPr/>
        <p:nvPr/>
      </p:nvGrpSpPr>
      <p:grpSpPr>
        <a:xfrm>
          <a:off x="0" y="0"/>
          <a:ext cx="0" cy="0"/>
          <a:chOff x="0" y="0"/>
          <a:chExt cx="0" cy="0"/>
        </a:xfrm>
      </p:grpSpPr>
      <p:sp>
        <p:nvSpPr>
          <p:cNvPr id="23" name="Footer Placeholder 4">
            <a:extLst>
              <a:ext uri="{FF2B5EF4-FFF2-40B4-BE49-F238E27FC236}">
                <a16:creationId xmlns:a16="http://schemas.microsoft.com/office/drawing/2014/main" id="{9B7A776C-47CB-4FC8-8D5F-45CE0015C266}"/>
              </a:ext>
            </a:extLst>
          </p:cNvPr>
          <p:cNvSpPr txBox="1">
            <a:spLocks/>
          </p:cNvSpPr>
          <p:nvPr/>
        </p:nvSpPr>
        <p:spPr>
          <a:xfrm>
            <a:off x="495235" y="6416128"/>
            <a:ext cx="11964692" cy="441872"/>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dirty="0">
                <a:solidFill>
                  <a:srgbClr val="000000">
                    <a:lumMod val="50000"/>
                    <a:lumOff val="50000"/>
                  </a:srgbClr>
                </a:solidFill>
              </a:rPr>
              <a:t>3</a:t>
            </a:r>
            <a:r>
              <a:rPr lang="en-US" sz="900">
                <a:solidFill>
                  <a:srgbClr val="000000">
                    <a:lumMod val="50000"/>
                    <a:lumOff val="50000"/>
                  </a:srgbClr>
                </a:solidFill>
              </a:rPr>
              <a:t>. </a:t>
            </a:r>
            <a:r>
              <a:rPr lang="en-US" sz="900" dirty="0">
                <a:solidFill>
                  <a:srgbClr val="000000">
                    <a:lumMod val="50000"/>
                    <a:lumOff val="50000"/>
                  </a:srgbClr>
                </a:solidFill>
              </a:rPr>
              <a:t>Saad et. al. Eur Urol. 2024 Apr 20:S0302-2838(24)02264-4. </a:t>
            </a:r>
            <a:r>
              <a:rPr lang="en-US" sz="900" dirty="0" err="1">
                <a:solidFill>
                  <a:srgbClr val="000000">
                    <a:lumMod val="50000"/>
                    <a:lumOff val="50000"/>
                  </a:srgbClr>
                </a:solidFill>
              </a:rPr>
              <a:t>doi</a:t>
            </a:r>
            <a:r>
              <a:rPr lang="en-US" sz="900" dirty="0">
                <a:solidFill>
                  <a:srgbClr val="000000">
                    <a:lumMod val="50000"/>
                    <a:lumOff val="50000"/>
                  </a:srgbClr>
                </a:solidFill>
              </a:rPr>
              <a:t>: 10.1016/j.eururo.2024.03.036</a:t>
            </a:r>
            <a:endParaRPr lang="en-US" sz="900" dirty="0">
              <a:solidFill>
                <a:schemeClr val="tx1">
                  <a:lumMod val="50000"/>
                  <a:lumOff val="50000"/>
                </a:schemeClr>
              </a:solidFill>
            </a:endParaRPr>
          </a:p>
        </p:txBody>
      </p:sp>
      <p:sp>
        <p:nvSpPr>
          <p:cNvPr id="31" name="Title 3">
            <a:extLst>
              <a:ext uri="{FF2B5EF4-FFF2-40B4-BE49-F238E27FC236}">
                <a16:creationId xmlns:a16="http://schemas.microsoft.com/office/drawing/2014/main" id="{276DFE8F-71E6-4F38-ECFC-54DD2F1888DD}"/>
              </a:ext>
            </a:extLst>
          </p:cNvPr>
          <p:cNvSpPr>
            <a:spLocks noGrp="1"/>
          </p:cNvSpPr>
          <p:nvPr>
            <p:ph type="title"/>
          </p:nvPr>
        </p:nvSpPr>
        <p:spPr/>
        <p:txBody>
          <a:bodyPr anchor="ctr">
            <a:normAutofit/>
          </a:bodyPr>
          <a:lstStyle/>
          <a:p>
            <a:r>
              <a:rPr lang="en-US" sz="2300" dirty="0"/>
              <a:t>ARASENS: PSA response and Safety</a:t>
            </a:r>
            <a:endParaRPr lang="en-US" sz="2300" baseline="30000" dirty="0"/>
          </a:p>
        </p:txBody>
      </p:sp>
      <p:pic>
        <p:nvPicPr>
          <p:cNvPr id="4" name="Grafik 3">
            <a:extLst>
              <a:ext uri="{FF2B5EF4-FFF2-40B4-BE49-F238E27FC236}">
                <a16:creationId xmlns:a16="http://schemas.microsoft.com/office/drawing/2014/main" id="{61047D4F-9FC6-CCEC-90D3-42380BAEF067}"/>
              </a:ext>
            </a:extLst>
          </p:cNvPr>
          <p:cNvPicPr>
            <a:picLocks noChangeAspect="1"/>
          </p:cNvPicPr>
          <p:nvPr/>
        </p:nvPicPr>
        <p:blipFill>
          <a:blip r:embed="rId3"/>
          <a:stretch>
            <a:fillRect/>
          </a:stretch>
        </p:blipFill>
        <p:spPr>
          <a:xfrm>
            <a:off x="764978" y="1218979"/>
            <a:ext cx="10080231" cy="5043891"/>
          </a:xfrm>
          <a:prstGeom prst="rect">
            <a:avLst/>
          </a:prstGeom>
        </p:spPr>
      </p:pic>
      <p:pic>
        <p:nvPicPr>
          <p:cNvPr id="2" name="Picture 1">
            <a:extLst>
              <a:ext uri="{FF2B5EF4-FFF2-40B4-BE49-F238E27FC236}">
                <a16:creationId xmlns:a16="http://schemas.microsoft.com/office/drawing/2014/main" id="{9FC5BC64-25A4-979B-DBEC-CF474FFAE7BF}"/>
              </a:ext>
            </a:extLst>
          </p:cNvPr>
          <p:cNvPicPr>
            <a:picLocks noChangeAspect="1"/>
          </p:cNvPicPr>
          <p:nvPr/>
        </p:nvPicPr>
        <p:blipFill>
          <a:blip r:embed="rId4"/>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32244739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30">
            <a:extLst>
              <a:ext uri="{FF2B5EF4-FFF2-40B4-BE49-F238E27FC236}">
                <a16:creationId xmlns:a16="http://schemas.microsoft.com/office/drawing/2014/main" id="{3F61B7C3-F115-4903-9FD3-DFD3B6EF467B}"/>
              </a:ext>
            </a:extLst>
          </p:cNvPr>
          <p:cNvGraphicFramePr>
            <a:graphicFrameLocks noGrp="1"/>
          </p:cNvGraphicFramePr>
          <p:nvPr>
            <p:extLst>
              <p:ext uri="{D42A27DB-BD31-4B8C-83A1-F6EECF244321}">
                <p14:modId xmlns:p14="http://schemas.microsoft.com/office/powerpoint/2010/main" val="270741245"/>
              </p:ext>
            </p:extLst>
          </p:nvPr>
        </p:nvGraphicFramePr>
        <p:xfrm>
          <a:off x="634464" y="2246374"/>
          <a:ext cx="10097397" cy="2997639"/>
        </p:xfrm>
        <a:graphic>
          <a:graphicData uri="http://schemas.openxmlformats.org/drawingml/2006/table">
            <a:tbl>
              <a:tblPr firstRow="1" bandRow="1">
                <a:tableStyleId>{5C22544A-7EE6-4342-B048-85BDC9FD1C3A}</a:tableStyleId>
              </a:tblPr>
              <a:tblGrid>
                <a:gridCol w="1671811">
                  <a:extLst>
                    <a:ext uri="{9D8B030D-6E8A-4147-A177-3AD203B41FA5}">
                      <a16:colId xmlns:a16="http://schemas.microsoft.com/office/drawing/2014/main" val="3982405955"/>
                    </a:ext>
                  </a:extLst>
                </a:gridCol>
                <a:gridCol w="4363481">
                  <a:extLst>
                    <a:ext uri="{9D8B030D-6E8A-4147-A177-3AD203B41FA5}">
                      <a16:colId xmlns:a16="http://schemas.microsoft.com/office/drawing/2014/main" val="800071296"/>
                    </a:ext>
                  </a:extLst>
                </a:gridCol>
                <a:gridCol w="4062105">
                  <a:extLst>
                    <a:ext uri="{9D8B030D-6E8A-4147-A177-3AD203B41FA5}">
                      <a16:colId xmlns:a16="http://schemas.microsoft.com/office/drawing/2014/main" val="2925475720"/>
                    </a:ext>
                  </a:extLst>
                </a:gridCol>
              </a:tblGrid>
              <a:tr h="716173">
                <a:tc>
                  <a:txBody>
                    <a:bodyPr/>
                    <a:lstStyle/>
                    <a:p>
                      <a:pPr marL="57150" marR="0" lvl="0" indent="0" algn="r" defTabSz="457200" rtl="0" eaLnBrk="1" fontAlgn="auto" latinLnBrk="0" hangingPunct="1">
                        <a:lnSpc>
                          <a:spcPct val="100000"/>
                        </a:lnSpc>
                        <a:spcBef>
                          <a:spcPts val="0"/>
                        </a:spcBef>
                        <a:spcAft>
                          <a:spcPts val="0"/>
                        </a:spcAft>
                        <a:buClrTx/>
                        <a:buSzTx/>
                        <a:buFontTx/>
                        <a:buNone/>
                        <a:tabLst/>
                        <a:defRPr/>
                      </a:pPr>
                      <a:r>
                        <a:rPr lang="en-US" sz="1700" b="1" kern="1200" dirty="0">
                          <a:solidFill>
                            <a:schemeClr val="dk1"/>
                          </a:solidFill>
                          <a:latin typeface="+mn-lt"/>
                          <a:ea typeface="+mn-ea"/>
                          <a:cs typeface="+mn-cs"/>
                        </a:rPr>
                        <a:t>PSA decrease </a:t>
                      </a:r>
                      <a:br>
                        <a:rPr lang="en-US" sz="1700" b="1" kern="1200" dirty="0">
                          <a:solidFill>
                            <a:schemeClr val="dk1"/>
                          </a:solidFill>
                          <a:latin typeface="+mn-lt"/>
                          <a:ea typeface="+mn-ea"/>
                          <a:cs typeface="+mn-cs"/>
                        </a:rPr>
                      </a:br>
                      <a:r>
                        <a:rPr lang="en-US" sz="1700" b="1" kern="1200" dirty="0">
                          <a:solidFill>
                            <a:schemeClr val="dk1"/>
                          </a:solidFill>
                          <a:latin typeface="+mn-lt"/>
                          <a:ea typeface="+mn-ea"/>
                          <a:cs typeface="+mn-cs"/>
                        </a:rPr>
                        <a:t>from baseline</a:t>
                      </a:r>
                    </a:p>
                  </a:txBody>
                  <a:tcPr marL="0" marR="113055" marT="56527" marB="56527" anchor="ctr">
                    <a:lnR w="12700" cap="flat" cmpd="sng" algn="ctr">
                      <a:noFill/>
                      <a:prstDash val="solid"/>
                      <a:round/>
                      <a:headEnd type="none" w="med" len="med"/>
                      <a:tailEnd type="none" w="med" len="med"/>
                    </a:lnR>
                    <a:solidFill>
                      <a:schemeClr val="bg1"/>
                    </a:solidFill>
                  </a:tcPr>
                </a:tc>
                <a:tc>
                  <a:txBody>
                    <a:bodyPr/>
                    <a:lstStyle/>
                    <a:p>
                      <a:pPr algn="ctr"/>
                      <a:r>
                        <a:rPr lang="en-US" sz="2000" b="1" u="none" baseline="0" dirty="0">
                          <a:solidFill>
                            <a:schemeClr val="bg1"/>
                          </a:solidFill>
                        </a:rPr>
                        <a:t>Darolutamide</a:t>
                      </a:r>
                      <a:br>
                        <a:rPr lang="en-US" sz="2000" b="1" u="none" baseline="0" dirty="0">
                          <a:solidFill>
                            <a:schemeClr val="bg1"/>
                          </a:solidFill>
                        </a:rPr>
                      </a:br>
                      <a:r>
                        <a:rPr lang="en-US" sz="2000" b="1" u="none" baseline="0" dirty="0">
                          <a:solidFill>
                            <a:schemeClr val="bg1"/>
                          </a:solidFill>
                        </a:rPr>
                        <a:t>with ADT </a:t>
                      </a:r>
                      <a:r>
                        <a:rPr lang="en-US" sz="2000" b="1" u="none" baseline="0">
                          <a:solidFill>
                            <a:schemeClr val="bg1"/>
                          </a:solidFill>
                        </a:rPr>
                        <a:t>+ Docetaxel</a:t>
                      </a:r>
                      <a:r>
                        <a:rPr lang="en-US" sz="2000" b="1" u="none" baseline="30000">
                          <a:solidFill>
                            <a:schemeClr val="bg1"/>
                          </a:solidFill>
                        </a:rPr>
                        <a:t>2</a:t>
                      </a:r>
                      <a:endParaRPr lang="en-US" sz="2000" b="1" u="none" baseline="30000" dirty="0">
                        <a:solidFill>
                          <a:schemeClr val="bg1"/>
                        </a:solidFill>
                      </a:endParaRPr>
                    </a:p>
                  </a:txBody>
                  <a:tcPr marL="113055" marR="113055" marT="56527" marB="56527"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000" b="1" u="none" baseline="0" dirty="0">
                          <a:solidFill>
                            <a:schemeClr val="accent5"/>
                          </a:solidFill>
                        </a:rPr>
                        <a:t>ADT </a:t>
                      </a:r>
                      <a:r>
                        <a:rPr lang="en-US" sz="2000" b="1" u="none" baseline="0">
                          <a:solidFill>
                            <a:schemeClr val="accent5"/>
                          </a:solidFill>
                        </a:rPr>
                        <a:t>+ Docetaxel</a:t>
                      </a:r>
                      <a:r>
                        <a:rPr lang="en-US" sz="2000" b="1" u="none" baseline="30000" dirty="0">
                          <a:solidFill>
                            <a:schemeClr val="accent5"/>
                          </a:solidFill>
                        </a:rPr>
                        <a:t>5</a:t>
                      </a:r>
                      <a:endParaRPr lang="en-US" sz="2000" b="1" u="none" baseline="0" dirty="0">
                        <a:solidFill>
                          <a:schemeClr val="accent5"/>
                        </a:solidFill>
                      </a:endParaRPr>
                    </a:p>
                  </a:txBody>
                  <a:tcPr marL="113055" marR="113055" marT="56527" marB="5652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135760937"/>
                  </a:ext>
                </a:extLst>
              </a:tr>
              <a:tr h="2274985">
                <a:tc>
                  <a:txBody>
                    <a:bodyPr/>
                    <a:lstStyle/>
                    <a:p>
                      <a:pPr marL="0" indent="0" algn="r" defTabSz="635000">
                        <a:tabLst>
                          <a:tab pos="1257300" algn="l"/>
                        </a:tabLst>
                      </a:pPr>
                      <a:r>
                        <a:rPr lang="en-US" sz="2200" b="1" dirty="0"/>
                        <a:t>&lt;0.2 ng/mL</a:t>
                      </a:r>
                    </a:p>
                    <a:p>
                      <a:pPr marL="119063" indent="0" algn="r" defTabSz="635000">
                        <a:tabLst>
                          <a:tab pos="1257300" algn="l"/>
                        </a:tabLst>
                      </a:pPr>
                      <a:r>
                        <a:rPr lang="en-US" sz="1700" b="0" dirty="0"/>
                        <a:t>(percent of patients)</a:t>
                      </a:r>
                    </a:p>
                  </a:txBody>
                  <a:tcPr marL="0" marR="113070" marT="113070" marB="565349" anchor="b">
                    <a:lnR w="12700" cap="flat" cmpd="sng" algn="ctr">
                      <a:solidFill>
                        <a:schemeClr val="tx1">
                          <a:lumMod val="50000"/>
                          <a:lumOff val="50000"/>
                        </a:schemeClr>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dirty="0">
                        <a:solidFill>
                          <a:schemeClr val="tx1"/>
                        </a:solidFill>
                        <a:highlight>
                          <a:srgbClr val="00FFFF"/>
                        </a:highlight>
                      </a:endParaRPr>
                    </a:p>
                  </a:txBody>
                  <a:tcPr marL="113055" marR="113055" marT="56527" marB="565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US" sz="1700" b="0" dirty="0">
                        <a:highlight>
                          <a:srgbClr val="00FFFF"/>
                        </a:highlight>
                      </a:endParaRPr>
                    </a:p>
                  </a:txBody>
                  <a:tcPr marL="113055" marR="113055" marT="56527" marB="565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04119817"/>
                  </a:ext>
                </a:extLst>
              </a:tr>
            </a:tbl>
          </a:graphicData>
        </a:graphic>
      </p:graphicFrame>
      <p:sp>
        <p:nvSpPr>
          <p:cNvPr id="5" name="Footer Placeholder 4">
            <a:extLst>
              <a:ext uri="{FF2B5EF4-FFF2-40B4-BE49-F238E27FC236}">
                <a16:creationId xmlns:a16="http://schemas.microsoft.com/office/drawing/2014/main" id="{65900A18-51F1-404B-B8AF-A30D29C61ACE}"/>
              </a:ext>
            </a:extLst>
          </p:cNvPr>
          <p:cNvSpPr>
            <a:spLocks noGrp="1"/>
          </p:cNvSpPr>
          <p:nvPr>
            <p:ph type="ftr" sz="quarter" idx="11"/>
          </p:nvPr>
        </p:nvSpPr>
        <p:spPr>
          <a:xfrm>
            <a:off x="744278" y="6356351"/>
            <a:ext cx="10197789" cy="365125"/>
          </a:xfrm>
        </p:spPr>
        <p:txBody>
          <a:bodyPr/>
          <a:lstStyle/>
          <a:p>
            <a:pPr algn="l" defTabSz="914309">
              <a:defRPr/>
            </a:pPr>
            <a:r>
              <a:rPr lang="en-US" sz="900" b="0" dirty="0">
                <a:solidFill>
                  <a:schemeClr val="accent5"/>
                </a:solidFill>
                <a:cs typeface="Arial"/>
              </a:rPr>
              <a:t>2</a:t>
            </a:r>
            <a:r>
              <a:rPr lang="en-US" sz="900" b="0">
                <a:solidFill>
                  <a:schemeClr val="accent5"/>
                </a:solidFill>
                <a:cs typeface="Arial"/>
              </a:rPr>
              <a:t>. </a:t>
            </a:r>
            <a:r>
              <a:rPr lang="en-US" sz="900" b="0" dirty="0">
                <a:solidFill>
                  <a:schemeClr val="accent5"/>
                </a:solidFill>
              </a:rPr>
              <a:t>Saad F, et al. Presented at American Society of Clinical Oncology; June 3-7, 2022; Chicago, IL, USA. Abstract 5078</a:t>
            </a:r>
            <a:r>
              <a:rPr lang="en-US" altLang="en-US" sz="900" b="0">
                <a:solidFill>
                  <a:schemeClr val="accent5"/>
                </a:solidFill>
              </a:rPr>
              <a:t>. 5. </a:t>
            </a:r>
            <a:r>
              <a:rPr lang="en-US" sz="900" b="0" dirty="0">
                <a:solidFill>
                  <a:schemeClr val="accent5"/>
                </a:solidFill>
                <a:latin typeface="Arial"/>
                <a:cs typeface="Arial"/>
              </a:rPr>
              <a:t>Kyriakopoulos CE, et al. </a:t>
            </a:r>
            <a:r>
              <a:rPr lang="en-US" sz="900" b="0" i="1" dirty="0">
                <a:solidFill>
                  <a:schemeClr val="accent5"/>
                </a:solidFill>
                <a:latin typeface="Arial"/>
                <a:cs typeface="Arial"/>
              </a:rPr>
              <a:t>J Clin Oncol.</a:t>
            </a:r>
            <a:r>
              <a:rPr lang="en-US" sz="900" b="0" dirty="0">
                <a:solidFill>
                  <a:schemeClr val="accent5"/>
                </a:solidFill>
                <a:latin typeface="Arial"/>
                <a:cs typeface="Arial"/>
              </a:rPr>
              <a:t> 2018;36(11):1080-1087</a:t>
            </a:r>
            <a:r>
              <a:rPr lang="en-US" sz="900" b="0" dirty="0">
                <a:solidFill>
                  <a:schemeClr val="accent5"/>
                </a:solidFill>
                <a:cs typeface="Arial"/>
              </a:rPr>
              <a:t>.</a:t>
            </a:r>
            <a:r>
              <a:rPr lang="en-US" sz="900" b="0" dirty="0">
                <a:solidFill>
                  <a:schemeClr val="accent5"/>
                </a:solidFill>
                <a:ea typeface="ＭＳ Ｐゴシック" pitchFamily="-106" charset="-128"/>
                <a:cs typeface="Arial" panose="020B0604020202020204" pitchFamily="34" charset="0"/>
              </a:rPr>
              <a:t> </a:t>
            </a:r>
            <a:endParaRPr lang="en-US" sz="900" b="0" dirty="0">
              <a:solidFill>
                <a:schemeClr val="accent5"/>
              </a:solidFill>
            </a:endParaRPr>
          </a:p>
        </p:txBody>
      </p:sp>
      <p:sp>
        <p:nvSpPr>
          <p:cNvPr id="2" name="Title 1">
            <a:extLst>
              <a:ext uri="{FF2B5EF4-FFF2-40B4-BE49-F238E27FC236}">
                <a16:creationId xmlns:a16="http://schemas.microsoft.com/office/drawing/2014/main" id="{DE739CEE-2817-4FA1-84F8-2826C9C52F5A}"/>
              </a:ext>
            </a:extLst>
          </p:cNvPr>
          <p:cNvSpPr>
            <a:spLocks noGrp="1"/>
          </p:cNvSpPr>
          <p:nvPr>
            <p:ph type="title"/>
          </p:nvPr>
        </p:nvSpPr>
        <p:spPr/>
        <p:txBody>
          <a:bodyPr>
            <a:normAutofit/>
          </a:bodyPr>
          <a:lstStyle/>
          <a:p>
            <a:r>
              <a:rPr lang="en-US" sz="2300" dirty="0"/>
              <a:t>ARASENS: PSA Response - Overall Population</a:t>
            </a:r>
          </a:p>
        </p:txBody>
      </p:sp>
      <p:sp>
        <p:nvSpPr>
          <p:cNvPr id="7" name="TextBox 6">
            <a:extLst>
              <a:ext uri="{FF2B5EF4-FFF2-40B4-BE49-F238E27FC236}">
                <a16:creationId xmlns:a16="http://schemas.microsoft.com/office/drawing/2014/main" id="{74025699-7BA4-4E00-8C0C-D8F29C79906B}"/>
              </a:ext>
            </a:extLst>
          </p:cNvPr>
          <p:cNvSpPr txBox="1"/>
          <p:nvPr/>
        </p:nvSpPr>
        <p:spPr bwMode="gray">
          <a:xfrm>
            <a:off x="744279" y="6023658"/>
            <a:ext cx="9283759" cy="261610"/>
          </a:xfrm>
          <a:prstGeom prst="rect">
            <a:avLst/>
          </a:prstGeom>
          <a:noFill/>
        </p:spPr>
        <p:txBody>
          <a:bodyPr wrap="square">
            <a:spAutoFit/>
          </a:bodyPr>
          <a:lstStyle/>
          <a:p>
            <a:r>
              <a:rPr lang="en-US" sz="1100" dirty="0">
                <a:solidFill>
                  <a:schemeClr val="accent5"/>
                </a:solidFill>
              </a:rPr>
              <a:t>*These studies show different clinical scenarios, include different patient populations, and are not intended to compare therapies.</a:t>
            </a:r>
          </a:p>
        </p:txBody>
      </p:sp>
      <p:graphicFrame>
        <p:nvGraphicFramePr>
          <p:cNvPr id="12" name="Chart 11">
            <a:extLst>
              <a:ext uri="{FF2B5EF4-FFF2-40B4-BE49-F238E27FC236}">
                <a16:creationId xmlns:a16="http://schemas.microsoft.com/office/drawing/2014/main" id="{B3F9C4EA-4569-4E4B-8A11-D5FECDC3FA0B}"/>
              </a:ext>
            </a:extLst>
          </p:cNvPr>
          <p:cNvGraphicFramePr/>
          <p:nvPr>
            <p:extLst>
              <p:ext uri="{D42A27DB-BD31-4B8C-83A1-F6EECF244321}">
                <p14:modId xmlns:p14="http://schemas.microsoft.com/office/powerpoint/2010/main" val="2106101856"/>
              </p:ext>
            </p:extLst>
          </p:nvPr>
        </p:nvGraphicFramePr>
        <p:xfrm>
          <a:off x="2293291" y="3131048"/>
          <a:ext cx="8302788" cy="1652426"/>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a:extLst>
              <a:ext uri="{FF2B5EF4-FFF2-40B4-BE49-F238E27FC236}">
                <a16:creationId xmlns:a16="http://schemas.microsoft.com/office/drawing/2014/main" id="{C29900FD-C404-4807-A650-9B7D4873F4FB}"/>
              </a:ext>
            </a:extLst>
          </p:cNvPr>
          <p:cNvSpPr/>
          <p:nvPr/>
        </p:nvSpPr>
        <p:spPr bwMode="gray">
          <a:xfrm>
            <a:off x="2723433" y="4804952"/>
            <a:ext cx="91428" cy="914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458633E-9E70-4522-B024-60B865B0DFED}"/>
              </a:ext>
            </a:extLst>
          </p:cNvPr>
          <p:cNvSpPr txBox="1"/>
          <p:nvPr/>
        </p:nvSpPr>
        <p:spPr bwMode="gray">
          <a:xfrm>
            <a:off x="2897983" y="4776962"/>
            <a:ext cx="1759455" cy="138357"/>
          </a:xfrm>
          <a:prstGeom prst="rect">
            <a:avLst/>
          </a:prstGeom>
          <a:noFill/>
        </p:spPr>
        <p:txBody>
          <a:bodyPr wrap="none" lIns="0" tIns="0" rIns="0" bIns="0" rtlCol="0" anchor="ctr">
            <a:noAutofit/>
          </a:bodyPr>
          <a:lstStyle/>
          <a:p>
            <a:r>
              <a:rPr lang="en-US" sz="1200" dirty="0"/>
              <a:t>Darolutamide + ADT + Docetaxel</a:t>
            </a:r>
          </a:p>
        </p:txBody>
      </p:sp>
      <p:sp>
        <p:nvSpPr>
          <p:cNvPr id="15" name="Rectangle 14">
            <a:extLst>
              <a:ext uri="{FF2B5EF4-FFF2-40B4-BE49-F238E27FC236}">
                <a16:creationId xmlns:a16="http://schemas.microsoft.com/office/drawing/2014/main" id="{9D72BC89-CD16-4573-8DF7-FAD04312969B}"/>
              </a:ext>
            </a:extLst>
          </p:cNvPr>
          <p:cNvSpPr/>
          <p:nvPr/>
        </p:nvSpPr>
        <p:spPr bwMode="gray">
          <a:xfrm>
            <a:off x="2723433" y="5036466"/>
            <a:ext cx="91428" cy="9142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5CB0513A-160F-4DC3-B387-C4D273AC2860}"/>
              </a:ext>
            </a:extLst>
          </p:cNvPr>
          <p:cNvSpPr txBox="1"/>
          <p:nvPr/>
        </p:nvSpPr>
        <p:spPr bwMode="gray">
          <a:xfrm>
            <a:off x="2891919" y="5024141"/>
            <a:ext cx="1759455" cy="138357"/>
          </a:xfrm>
          <a:prstGeom prst="rect">
            <a:avLst/>
          </a:prstGeom>
          <a:noFill/>
        </p:spPr>
        <p:txBody>
          <a:bodyPr wrap="none" lIns="0" tIns="0" rIns="0" bIns="0" rtlCol="0" anchor="ctr">
            <a:noAutofit/>
          </a:bodyPr>
          <a:lstStyle/>
          <a:p>
            <a:r>
              <a:rPr lang="en-US" sz="1200" dirty="0"/>
              <a:t>Placebo + ADT + Docetaxel</a:t>
            </a:r>
          </a:p>
        </p:txBody>
      </p:sp>
      <p:sp>
        <p:nvSpPr>
          <p:cNvPr id="26" name="Rectangle 25">
            <a:extLst>
              <a:ext uri="{FF2B5EF4-FFF2-40B4-BE49-F238E27FC236}">
                <a16:creationId xmlns:a16="http://schemas.microsoft.com/office/drawing/2014/main" id="{280382D1-CF8A-43E1-89DB-46AADF961792}"/>
              </a:ext>
            </a:extLst>
          </p:cNvPr>
          <p:cNvSpPr/>
          <p:nvPr/>
        </p:nvSpPr>
        <p:spPr bwMode="gray">
          <a:xfrm>
            <a:off x="6796005" y="4804957"/>
            <a:ext cx="91428" cy="9142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9E2E97BC-E31F-4033-8C25-0D4587F4C559}"/>
              </a:ext>
            </a:extLst>
          </p:cNvPr>
          <p:cNvSpPr txBox="1"/>
          <p:nvPr/>
        </p:nvSpPr>
        <p:spPr bwMode="gray">
          <a:xfrm>
            <a:off x="6997611" y="4772963"/>
            <a:ext cx="1759455" cy="138357"/>
          </a:xfrm>
          <a:prstGeom prst="rect">
            <a:avLst/>
          </a:prstGeom>
          <a:noFill/>
        </p:spPr>
        <p:txBody>
          <a:bodyPr wrap="none" lIns="0" tIns="0" rIns="0" bIns="0" rtlCol="0" anchor="ctr">
            <a:noAutofit/>
          </a:bodyPr>
          <a:lstStyle/>
          <a:p>
            <a:r>
              <a:rPr lang="en-US" sz="1200" dirty="0"/>
              <a:t>Docetaxel + ADT</a:t>
            </a:r>
          </a:p>
        </p:txBody>
      </p:sp>
      <p:sp>
        <p:nvSpPr>
          <p:cNvPr id="28" name="Rectangle 27">
            <a:extLst>
              <a:ext uri="{FF2B5EF4-FFF2-40B4-BE49-F238E27FC236}">
                <a16:creationId xmlns:a16="http://schemas.microsoft.com/office/drawing/2014/main" id="{BED9EF22-F1E2-4679-A385-5DB6161D21C4}"/>
              </a:ext>
            </a:extLst>
          </p:cNvPr>
          <p:cNvSpPr/>
          <p:nvPr/>
        </p:nvSpPr>
        <p:spPr bwMode="gray">
          <a:xfrm>
            <a:off x="6796005" y="5013912"/>
            <a:ext cx="91428" cy="9142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a:extLst>
              <a:ext uri="{FF2B5EF4-FFF2-40B4-BE49-F238E27FC236}">
                <a16:creationId xmlns:a16="http://schemas.microsoft.com/office/drawing/2014/main" id="{380DEA6A-9889-4674-ACDC-2751FC143324}"/>
              </a:ext>
            </a:extLst>
          </p:cNvPr>
          <p:cNvSpPr txBox="1"/>
          <p:nvPr/>
        </p:nvSpPr>
        <p:spPr bwMode="gray">
          <a:xfrm>
            <a:off x="6997611" y="4984312"/>
            <a:ext cx="1759455" cy="138357"/>
          </a:xfrm>
          <a:prstGeom prst="rect">
            <a:avLst/>
          </a:prstGeom>
          <a:noFill/>
        </p:spPr>
        <p:txBody>
          <a:bodyPr wrap="none" lIns="0" tIns="0" rIns="0" bIns="0" rtlCol="0" anchor="ctr">
            <a:noAutofit/>
          </a:bodyPr>
          <a:lstStyle/>
          <a:p>
            <a:r>
              <a:rPr lang="en-US" sz="1200" dirty="0"/>
              <a:t>Placebo + ADT</a:t>
            </a:r>
          </a:p>
        </p:txBody>
      </p:sp>
      <p:sp>
        <p:nvSpPr>
          <p:cNvPr id="4" name="TextBox 3">
            <a:extLst>
              <a:ext uri="{FF2B5EF4-FFF2-40B4-BE49-F238E27FC236}">
                <a16:creationId xmlns:a16="http://schemas.microsoft.com/office/drawing/2014/main" id="{7971B40F-CC88-38F4-7A16-EFDE624BADB0}"/>
              </a:ext>
            </a:extLst>
          </p:cNvPr>
          <p:cNvSpPr txBox="1"/>
          <p:nvPr/>
        </p:nvSpPr>
        <p:spPr bwMode="gray">
          <a:xfrm>
            <a:off x="3884623" y="-180975"/>
            <a:ext cx="180975" cy="36195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endParaRPr lang="en-US" dirty="0"/>
          </a:p>
        </p:txBody>
      </p:sp>
      <p:pic>
        <p:nvPicPr>
          <p:cNvPr id="6" name="Picture 5">
            <a:extLst>
              <a:ext uri="{FF2B5EF4-FFF2-40B4-BE49-F238E27FC236}">
                <a16:creationId xmlns:a16="http://schemas.microsoft.com/office/drawing/2014/main" id="{37736E1D-5AD0-7EAA-31B9-8BE8FD764C60}"/>
              </a:ext>
            </a:extLst>
          </p:cNvPr>
          <p:cNvPicPr>
            <a:picLocks noChangeAspect="1"/>
          </p:cNvPicPr>
          <p:nvPr/>
        </p:nvPicPr>
        <p:blipFill>
          <a:blip r:embed="rId4"/>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17835630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2247C-0026-5CE4-3E3B-81A6C73A6A69}"/>
            </a:ext>
          </a:extLst>
        </p:cNvPr>
        <p:cNvGrpSpPr/>
        <p:nvPr/>
      </p:nvGrpSpPr>
      <p:grpSpPr>
        <a:xfrm>
          <a:off x="0" y="0"/>
          <a:ext cx="0" cy="0"/>
          <a:chOff x="0" y="0"/>
          <a:chExt cx="0" cy="0"/>
        </a:xfrm>
      </p:grpSpPr>
      <p:sp>
        <p:nvSpPr>
          <p:cNvPr id="5" name="Titel 5">
            <a:extLst>
              <a:ext uri="{FF2B5EF4-FFF2-40B4-BE49-F238E27FC236}">
                <a16:creationId xmlns:a16="http://schemas.microsoft.com/office/drawing/2014/main" id="{5EEA7567-862D-27E9-BD38-B2B324A5C333}"/>
              </a:ext>
            </a:extLst>
          </p:cNvPr>
          <p:cNvSpPr>
            <a:spLocks noGrp="1"/>
          </p:cNvSpPr>
          <p:nvPr>
            <p:ph type="title"/>
          </p:nvPr>
        </p:nvSpPr>
        <p:spPr>
          <a:xfrm>
            <a:off x="329609" y="125558"/>
            <a:ext cx="10312048" cy="890756"/>
          </a:xfrm>
        </p:spPr>
        <p:txBody>
          <a:bodyPr>
            <a:normAutofit/>
          </a:bodyPr>
          <a:lstStyle/>
          <a:p>
            <a:r>
              <a:rPr kumimoji="0" lang="en-US" sz="23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PSA Responses of ARI Agents in Patients with mHSPC</a:t>
            </a:r>
            <a:endParaRPr lang="de-DE" sz="2400" cap="none"/>
          </a:p>
        </p:txBody>
      </p:sp>
      <p:graphicFrame>
        <p:nvGraphicFramePr>
          <p:cNvPr id="3" name="Table 30">
            <a:extLst>
              <a:ext uri="{FF2B5EF4-FFF2-40B4-BE49-F238E27FC236}">
                <a16:creationId xmlns:a16="http://schemas.microsoft.com/office/drawing/2014/main" id="{32F37E9B-BCCB-7738-8E4E-97BB946FB77F}"/>
              </a:ext>
            </a:extLst>
          </p:cNvPr>
          <p:cNvGraphicFramePr>
            <a:graphicFrameLocks noGrp="1"/>
          </p:cNvGraphicFramePr>
          <p:nvPr>
            <p:extLst>
              <p:ext uri="{D42A27DB-BD31-4B8C-83A1-F6EECF244321}">
                <p14:modId xmlns:p14="http://schemas.microsoft.com/office/powerpoint/2010/main" val="1763535869"/>
              </p:ext>
            </p:extLst>
          </p:nvPr>
        </p:nvGraphicFramePr>
        <p:xfrm>
          <a:off x="99935" y="2121197"/>
          <a:ext cx="11854419" cy="2357433"/>
        </p:xfrm>
        <a:graphic>
          <a:graphicData uri="http://schemas.openxmlformats.org/drawingml/2006/table">
            <a:tbl>
              <a:tblPr firstRow="1" bandRow="1">
                <a:tableStyleId>{5C22544A-7EE6-4342-B048-85BDC9FD1C3A}</a:tableStyleId>
              </a:tblPr>
              <a:tblGrid>
                <a:gridCol w="1371421">
                  <a:extLst>
                    <a:ext uri="{9D8B030D-6E8A-4147-A177-3AD203B41FA5}">
                      <a16:colId xmlns:a16="http://schemas.microsoft.com/office/drawing/2014/main" val="3982405955"/>
                    </a:ext>
                  </a:extLst>
                </a:gridCol>
                <a:gridCol w="3579456">
                  <a:extLst>
                    <a:ext uri="{9D8B030D-6E8A-4147-A177-3AD203B41FA5}">
                      <a16:colId xmlns:a16="http://schemas.microsoft.com/office/drawing/2014/main" val="800071296"/>
                    </a:ext>
                  </a:extLst>
                </a:gridCol>
                <a:gridCol w="3332231">
                  <a:extLst>
                    <a:ext uri="{9D8B030D-6E8A-4147-A177-3AD203B41FA5}">
                      <a16:colId xmlns:a16="http://schemas.microsoft.com/office/drawing/2014/main" val="2925475720"/>
                    </a:ext>
                  </a:extLst>
                </a:gridCol>
                <a:gridCol w="3571311">
                  <a:extLst>
                    <a:ext uri="{9D8B030D-6E8A-4147-A177-3AD203B41FA5}">
                      <a16:colId xmlns:a16="http://schemas.microsoft.com/office/drawing/2014/main" val="1163310657"/>
                    </a:ext>
                  </a:extLst>
                </a:gridCol>
              </a:tblGrid>
              <a:tr h="457116">
                <a:tc>
                  <a:txBody>
                    <a:bodyPr/>
                    <a:lstStyle/>
                    <a:p>
                      <a:pPr marL="57150" marR="0" lvl="0" indent="0" algn="r" defTabSz="457200" rtl="0" eaLnBrk="1" fontAlgn="auto" latinLnBrk="0" hangingPunct="1">
                        <a:lnSpc>
                          <a:spcPct val="100000"/>
                        </a:lnSpc>
                        <a:spcBef>
                          <a:spcPts val="0"/>
                        </a:spcBef>
                        <a:spcAft>
                          <a:spcPts val="0"/>
                        </a:spcAft>
                        <a:buClrTx/>
                        <a:buSzTx/>
                        <a:buFontTx/>
                        <a:buNone/>
                        <a:tabLst/>
                        <a:defRPr/>
                      </a:pPr>
                      <a:r>
                        <a:rPr lang="en-US" sz="1400" b="1" kern="1200">
                          <a:solidFill>
                            <a:schemeClr val="dk1"/>
                          </a:solidFill>
                          <a:latin typeface="+mn-lt"/>
                          <a:ea typeface="+mn-ea"/>
                          <a:cs typeface="+mn-cs"/>
                        </a:rPr>
                        <a:t>PSA decrease </a:t>
                      </a:r>
                      <a:br>
                        <a:rPr lang="en-US" sz="1400" b="1" kern="1200">
                          <a:solidFill>
                            <a:schemeClr val="dk1"/>
                          </a:solidFill>
                          <a:latin typeface="+mn-lt"/>
                          <a:ea typeface="+mn-ea"/>
                          <a:cs typeface="+mn-cs"/>
                        </a:rPr>
                      </a:br>
                      <a:r>
                        <a:rPr lang="en-US" sz="1400" b="1" kern="1200">
                          <a:solidFill>
                            <a:schemeClr val="dk1"/>
                          </a:solidFill>
                          <a:latin typeface="+mn-lt"/>
                          <a:ea typeface="+mn-ea"/>
                          <a:cs typeface="+mn-cs"/>
                        </a:rPr>
                        <a:t>from baseline</a:t>
                      </a:r>
                    </a:p>
                  </a:txBody>
                  <a:tcPr marL="0" marR="91404" marT="45702" marB="45702" anchor="ctr">
                    <a:lnR w="12700" cap="flat" cmpd="sng" algn="ctr">
                      <a:noFill/>
                      <a:prstDash val="solid"/>
                      <a:round/>
                      <a:headEnd type="none" w="med" len="med"/>
                      <a:tailEnd type="none" w="med" len="med"/>
                    </a:lnR>
                    <a:solidFill>
                      <a:schemeClr val="bg1"/>
                    </a:solidFill>
                  </a:tcPr>
                </a:tc>
                <a:tc>
                  <a:txBody>
                    <a:bodyPr/>
                    <a:lstStyle/>
                    <a:p>
                      <a:pPr algn="ctr"/>
                      <a:r>
                        <a:rPr lang="en-US" sz="1600" b="1" u="none" baseline="0">
                          <a:solidFill>
                            <a:schemeClr val="bg1"/>
                          </a:solidFill>
                        </a:rPr>
                        <a:t>Darolutamide</a:t>
                      </a:r>
                      <a:r>
                        <a:rPr lang="en-US" sz="1600" b="1" u="none" baseline="30000">
                          <a:solidFill>
                            <a:schemeClr val="bg1"/>
                          </a:solidFill>
                        </a:rPr>
                        <a:t>2,3</a:t>
                      </a:r>
                      <a:endParaRPr lang="en-US" sz="1600" b="1" u="none" baseline="0" dirty="0">
                        <a:solidFill>
                          <a:schemeClr val="bg1"/>
                        </a:solidFill>
                      </a:endParaRPr>
                    </a:p>
                  </a:txBody>
                  <a:tcPr marL="91404" marR="91404" marT="45702" marB="4570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b="1" u="none" baseline="0">
                          <a:solidFill>
                            <a:schemeClr val="bg1"/>
                          </a:solidFill>
                        </a:rPr>
                        <a:t>Enzalutamide</a:t>
                      </a:r>
                      <a:r>
                        <a:rPr lang="en-US" sz="1600" b="1" u="none" baseline="30000">
                          <a:solidFill>
                            <a:schemeClr val="bg1"/>
                          </a:solidFill>
                        </a:rPr>
                        <a:t>6</a:t>
                      </a:r>
                      <a:endParaRPr lang="en-US" sz="1600" b="1" u="none" baseline="0" dirty="0">
                        <a:solidFill>
                          <a:schemeClr val="bg1"/>
                        </a:solidFill>
                      </a:endParaRPr>
                    </a:p>
                  </a:txBody>
                  <a:tcPr marL="91404" marR="91404" marT="45702" marB="4570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u="none" baseline="0">
                          <a:solidFill>
                            <a:schemeClr val="bg1"/>
                          </a:solidFill>
                        </a:rPr>
                        <a:t>Apalutamide</a:t>
                      </a:r>
                      <a:r>
                        <a:rPr lang="en-US" sz="1600" b="1" u="none" baseline="30000">
                          <a:solidFill>
                            <a:schemeClr val="bg1"/>
                          </a:solidFill>
                        </a:rPr>
                        <a:t>7,8</a:t>
                      </a:r>
                      <a:endParaRPr lang="en-US" sz="1600" b="1" u="none" baseline="30000" dirty="0">
                        <a:solidFill>
                          <a:schemeClr val="bg1"/>
                        </a:solidFill>
                      </a:endParaRPr>
                    </a:p>
                  </a:txBody>
                  <a:tcPr marL="91404" marR="91404" marT="45702" marB="4570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35760937"/>
                  </a:ext>
                </a:extLst>
              </a:tr>
              <a:tr h="1839309">
                <a:tc>
                  <a:txBody>
                    <a:bodyPr/>
                    <a:lstStyle/>
                    <a:p>
                      <a:pPr marL="0" indent="0" algn="r" defTabSz="635000">
                        <a:tabLst>
                          <a:tab pos="1257300" algn="l"/>
                        </a:tabLst>
                      </a:pPr>
                      <a:r>
                        <a:rPr lang="en-US" sz="1400" b="1"/>
                        <a:t>&lt;0.2 ng/mL</a:t>
                      </a:r>
                    </a:p>
                    <a:p>
                      <a:pPr marL="0" indent="0" algn="r" defTabSz="635000">
                        <a:tabLst>
                          <a:tab pos="1257300" algn="l"/>
                        </a:tabLst>
                      </a:pPr>
                      <a:r>
                        <a:rPr lang="en-US" sz="1200" b="0"/>
                        <a:t>(percent of patients)</a:t>
                      </a:r>
                    </a:p>
                  </a:txBody>
                  <a:tcPr marL="0" marR="91416" marT="91416" marB="457080" anchor="b">
                    <a:lnR w="12700" cap="flat" cmpd="sng" algn="ctr">
                      <a:solidFill>
                        <a:schemeClr val="tx1">
                          <a:lumMod val="50000"/>
                          <a:lumOff val="50000"/>
                        </a:schemeClr>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solidFill>
                          <a:schemeClr val="tx1"/>
                        </a:solidFill>
                        <a:highlight>
                          <a:srgbClr val="00FFFF"/>
                        </a:highlight>
                      </a:endParaRPr>
                    </a:p>
                  </a:txBody>
                  <a:tcPr marL="91404" marR="91404" marT="45702" marB="4570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US" sz="1400" b="0" dirty="0">
                        <a:highlight>
                          <a:srgbClr val="00FFFF"/>
                        </a:highlight>
                      </a:endParaRPr>
                    </a:p>
                  </a:txBody>
                  <a:tcPr marL="91404" marR="91404" marT="45702" marB="4570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US" sz="1400" kern="1200" dirty="0">
                        <a:solidFill>
                          <a:schemeClr val="dk1"/>
                        </a:solidFill>
                        <a:latin typeface="+mn-lt"/>
                        <a:ea typeface="+mn-ea"/>
                        <a:cs typeface="+mn-cs"/>
                      </a:endParaRPr>
                    </a:p>
                  </a:txBody>
                  <a:tcPr marL="91404" marR="91404" marT="45702" marB="4570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04119817"/>
                  </a:ext>
                </a:extLst>
              </a:tr>
            </a:tbl>
          </a:graphicData>
        </a:graphic>
      </p:graphicFrame>
      <p:graphicFrame>
        <p:nvGraphicFramePr>
          <p:cNvPr id="4" name="Chart 3">
            <a:extLst>
              <a:ext uri="{FF2B5EF4-FFF2-40B4-BE49-F238E27FC236}">
                <a16:creationId xmlns:a16="http://schemas.microsoft.com/office/drawing/2014/main" id="{3D22A1C5-00A9-C89D-AAD2-6D1A9F6618F9}"/>
              </a:ext>
            </a:extLst>
          </p:cNvPr>
          <p:cNvGraphicFramePr/>
          <p:nvPr>
            <p:extLst>
              <p:ext uri="{D42A27DB-BD31-4B8C-83A1-F6EECF244321}">
                <p14:modId xmlns:p14="http://schemas.microsoft.com/office/powerpoint/2010/main" val="2108252935"/>
              </p:ext>
            </p:extLst>
          </p:nvPr>
        </p:nvGraphicFramePr>
        <p:xfrm>
          <a:off x="1514954" y="2645752"/>
          <a:ext cx="10575525" cy="1366891"/>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7B565988-7A00-C2FA-5578-E6992DC88D6B}"/>
              </a:ext>
            </a:extLst>
          </p:cNvPr>
          <p:cNvSpPr/>
          <p:nvPr/>
        </p:nvSpPr>
        <p:spPr bwMode="gray">
          <a:xfrm>
            <a:off x="2221017" y="4027633"/>
            <a:ext cx="121991" cy="12134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09"/>
            <a:endParaRPr lang="en-US" dirty="0">
              <a:solidFill>
                <a:srgbClr val="FFFFFF"/>
              </a:solidFill>
              <a:latin typeface="Arial"/>
              <a:cs typeface="Arial"/>
            </a:endParaRPr>
          </a:p>
        </p:txBody>
      </p:sp>
      <p:sp>
        <p:nvSpPr>
          <p:cNvPr id="7" name="TextBox 6">
            <a:extLst>
              <a:ext uri="{FF2B5EF4-FFF2-40B4-BE49-F238E27FC236}">
                <a16:creationId xmlns:a16="http://schemas.microsoft.com/office/drawing/2014/main" id="{69F2BE73-3EB4-FDE1-A04B-FEDEB178ECF6}"/>
              </a:ext>
            </a:extLst>
          </p:cNvPr>
          <p:cNvSpPr txBox="1"/>
          <p:nvPr/>
        </p:nvSpPr>
        <p:spPr bwMode="gray">
          <a:xfrm>
            <a:off x="2395546" y="3999649"/>
            <a:ext cx="1759226" cy="138339"/>
          </a:xfrm>
          <a:prstGeom prst="rect">
            <a:avLst/>
          </a:prstGeom>
          <a:noFill/>
        </p:spPr>
        <p:txBody>
          <a:bodyPr wrap="none" lIns="0" tIns="0" rIns="0" bIns="0" rtlCol="0" anchor="ctr">
            <a:noAutofit/>
          </a:bodyPr>
          <a:lstStyle/>
          <a:p>
            <a:pPr defTabSz="914309"/>
            <a:r>
              <a:rPr lang="en-US" sz="1200">
                <a:solidFill>
                  <a:srgbClr val="000000"/>
                </a:solidFill>
                <a:latin typeface="Arial"/>
                <a:cs typeface="Arial"/>
              </a:rPr>
              <a:t>Darolutamide </a:t>
            </a:r>
            <a:r>
              <a:rPr lang="en-US" sz="1200" dirty="0">
                <a:solidFill>
                  <a:srgbClr val="000000"/>
                </a:solidFill>
                <a:latin typeface="Arial"/>
                <a:cs typeface="Arial"/>
              </a:rPr>
              <a:t>+ ADT + Docetaxel</a:t>
            </a:r>
          </a:p>
        </p:txBody>
      </p:sp>
      <p:sp>
        <p:nvSpPr>
          <p:cNvPr id="8" name="Rectangle 7">
            <a:extLst>
              <a:ext uri="{FF2B5EF4-FFF2-40B4-BE49-F238E27FC236}">
                <a16:creationId xmlns:a16="http://schemas.microsoft.com/office/drawing/2014/main" id="{726A02F6-66D3-8665-F5BA-37AC236E345E}"/>
              </a:ext>
            </a:extLst>
          </p:cNvPr>
          <p:cNvSpPr/>
          <p:nvPr/>
        </p:nvSpPr>
        <p:spPr bwMode="gray">
          <a:xfrm>
            <a:off x="2221017" y="4259118"/>
            <a:ext cx="115928" cy="98795"/>
          </a:xfrm>
          <a:prstGeom prst="rect">
            <a:avLst/>
          </a:prstGeom>
          <a:solidFill>
            <a:schemeClr val="accent5">
              <a:lumMod val="40000"/>
              <a:lumOff val="6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dirty="0">
              <a:solidFill>
                <a:srgbClr val="FFFFFF"/>
              </a:solidFill>
              <a:latin typeface="Arial"/>
              <a:cs typeface="Arial"/>
            </a:endParaRPr>
          </a:p>
        </p:txBody>
      </p:sp>
      <p:sp>
        <p:nvSpPr>
          <p:cNvPr id="9" name="TextBox 8">
            <a:extLst>
              <a:ext uri="{FF2B5EF4-FFF2-40B4-BE49-F238E27FC236}">
                <a16:creationId xmlns:a16="http://schemas.microsoft.com/office/drawing/2014/main" id="{99F4E97C-034D-6CE7-D645-8D9560F367EE}"/>
              </a:ext>
            </a:extLst>
          </p:cNvPr>
          <p:cNvSpPr txBox="1"/>
          <p:nvPr/>
        </p:nvSpPr>
        <p:spPr bwMode="gray">
          <a:xfrm>
            <a:off x="2389483" y="4246796"/>
            <a:ext cx="1759226" cy="138339"/>
          </a:xfrm>
          <a:prstGeom prst="rect">
            <a:avLst/>
          </a:prstGeom>
          <a:noFill/>
        </p:spPr>
        <p:txBody>
          <a:bodyPr wrap="none" lIns="0" tIns="0" rIns="0" bIns="0" rtlCol="0" anchor="ctr">
            <a:noAutofit/>
          </a:bodyPr>
          <a:lstStyle/>
          <a:p>
            <a:pPr defTabSz="914309"/>
            <a:r>
              <a:rPr lang="en-US" sz="1200" dirty="0">
                <a:solidFill>
                  <a:srgbClr val="000000"/>
                </a:solidFill>
                <a:latin typeface="Arial"/>
                <a:cs typeface="Arial"/>
              </a:rPr>
              <a:t>Placebo + ADT + Docetaxel</a:t>
            </a:r>
          </a:p>
        </p:txBody>
      </p:sp>
      <p:sp>
        <p:nvSpPr>
          <p:cNvPr id="10" name="Rectangle 9">
            <a:extLst>
              <a:ext uri="{FF2B5EF4-FFF2-40B4-BE49-F238E27FC236}">
                <a16:creationId xmlns:a16="http://schemas.microsoft.com/office/drawing/2014/main" id="{DB90CE85-F600-C960-C1D4-0F99CCAF2018}"/>
              </a:ext>
            </a:extLst>
          </p:cNvPr>
          <p:cNvSpPr/>
          <p:nvPr/>
        </p:nvSpPr>
        <p:spPr bwMode="gray">
          <a:xfrm>
            <a:off x="5481634" y="4012643"/>
            <a:ext cx="122197" cy="12134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dirty="0">
              <a:solidFill>
                <a:srgbClr val="FFFFFF"/>
              </a:solidFill>
              <a:latin typeface="Arial"/>
              <a:cs typeface="Arial"/>
            </a:endParaRPr>
          </a:p>
        </p:txBody>
      </p:sp>
      <p:sp>
        <p:nvSpPr>
          <p:cNvPr id="12" name="TextBox 11">
            <a:extLst>
              <a:ext uri="{FF2B5EF4-FFF2-40B4-BE49-F238E27FC236}">
                <a16:creationId xmlns:a16="http://schemas.microsoft.com/office/drawing/2014/main" id="{B4C3AB58-A171-21C8-FA3E-CD5FB2E82181}"/>
              </a:ext>
            </a:extLst>
          </p:cNvPr>
          <p:cNvSpPr txBox="1"/>
          <p:nvPr/>
        </p:nvSpPr>
        <p:spPr bwMode="gray">
          <a:xfrm>
            <a:off x="5683216" y="3995651"/>
            <a:ext cx="1759226" cy="138339"/>
          </a:xfrm>
          <a:prstGeom prst="rect">
            <a:avLst/>
          </a:prstGeom>
          <a:noFill/>
        </p:spPr>
        <p:txBody>
          <a:bodyPr wrap="none" lIns="0" tIns="0" rIns="0" bIns="0" rtlCol="0" anchor="ctr">
            <a:noAutofit/>
          </a:bodyPr>
          <a:lstStyle/>
          <a:p>
            <a:pPr defTabSz="914309"/>
            <a:r>
              <a:rPr lang="en-US" sz="1200" dirty="0">
                <a:solidFill>
                  <a:srgbClr val="000000"/>
                </a:solidFill>
                <a:latin typeface="Arial"/>
                <a:cs typeface="Arial"/>
              </a:rPr>
              <a:t>Enzalutamide + ADT</a:t>
            </a:r>
          </a:p>
        </p:txBody>
      </p:sp>
      <p:sp>
        <p:nvSpPr>
          <p:cNvPr id="13" name="Rectangle 12">
            <a:extLst>
              <a:ext uri="{FF2B5EF4-FFF2-40B4-BE49-F238E27FC236}">
                <a16:creationId xmlns:a16="http://schemas.microsoft.com/office/drawing/2014/main" id="{593577DE-CC9E-610F-C2E8-864FF0149A28}"/>
              </a:ext>
            </a:extLst>
          </p:cNvPr>
          <p:cNvSpPr/>
          <p:nvPr/>
        </p:nvSpPr>
        <p:spPr bwMode="gray">
          <a:xfrm>
            <a:off x="5481634" y="4236567"/>
            <a:ext cx="116134" cy="121346"/>
          </a:xfrm>
          <a:prstGeom prst="rect">
            <a:avLst/>
          </a:prstGeom>
          <a:solidFill>
            <a:schemeClr val="accent5">
              <a:lumMod val="40000"/>
              <a:lumOff val="6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dirty="0">
              <a:solidFill>
                <a:srgbClr val="FFFFFF"/>
              </a:solidFill>
              <a:latin typeface="Arial"/>
              <a:cs typeface="Arial"/>
            </a:endParaRPr>
          </a:p>
        </p:txBody>
      </p:sp>
      <p:sp>
        <p:nvSpPr>
          <p:cNvPr id="14" name="TextBox 13">
            <a:extLst>
              <a:ext uri="{FF2B5EF4-FFF2-40B4-BE49-F238E27FC236}">
                <a16:creationId xmlns:a16="http://schemas.microsoft.com/office/drawing/2014/main" id="{D754A8E2-EF0F-C5CF-EC27-FA33C9471386}"/>
              </a:ext>
            </a:extLst>
          </p:cNvPr>
          <p:cNvSpPr txBox="1"/>
          <p:nvPr/>
        </p:nvSpPr>
        <p:spPr bwMode="gray">
          <a:xfrm>
            <a:off x="5683216" y="4206972"/>
            <a:ext cx="1759226" cy="138339"/>
          </a:xfrm>
          <a:prstGeom prst="rect">
            <a:avLst/>
          </a:prstGeom>
          <a:noFill/>
        </p:spPr>
        <p:txBody>
          <a:bodyPr wrap="none" lIns="0" tIns="0" rIns="0" bIns="0" rtlCol="0" anchor="ctr">
            <a:noAutofit/>
          </a:bodyPr>
          <a:lstStyle/>
          <a:p>
            <a:pPr defTabSz="914309"/>
            <a:r>
              <a:rPr lang="en-US" sz="1200" dirty="0">
                <a:solidFill>
                  <a:srgbClr val="000000"/>
                </a:solidFill>
                <a:latin typeface="Arial"/>
                <a:cs typeface="Arial"/>
              </a:rPr>
              <a:t>Placebo + ADT</a:t>
            </a:r>
          </a:p>
        </p:txBody>
      </p:sp>
      <p:sp>
        <p:nvSpPr>
          <p:cNvPr id="15" name="Rectangle 14">
            <a:extLst>
              <a:ext uri="{FF2B5EF4-FFF2-40B4-BE49-F238E27FC236}">
                <a16:creationId xmlns:a16="http://schemas.microsoft.com/office/drawing/2014/main" id="{176E1C42-08AF-7101-2B65-ABF0945C99B4}"/>
              </a:ext>
            </a:extLst>
          </p:cNvPr>
          <p:cNvSpPr/>
          <p:nvPr/>
        </p:nvSpPr>
        <p:spPr bwMode="gray">
          <a:xfrm>
            <a:off x="8747549" y="4046214"/>
            <a:ext cx="91416" cy="91416"/>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dirty="0">
              <a:solidFill>
                <a:srgbClr val="FFFFFF"/>
              </a:solidFill>
              <a:latin typeface="Arial"/>
              <a:cs typeface="Arial"/>
            </a:endParaRPr>
          </a:p>
        </p:txBody>
      </p:sp>
      <p:sp>
        <p:nvSpPr>
          <p:cNvPr id="18" name="TextBox 17">
            <a:extLst>
              <a:ext uri="{FF2B5EF4-FFF2-40B4-BE49-F238E27FC236}">
                <a16:creationId xmlns:a16="http://schemas.microsoft.com/office/drawing/2014/main" id="{F269E027-697C-52F9-7B93-A0BB7B375993}"/>
              </a:ext>
            </a:extLst>
          </p:cNvPr>
          <p:cNvSpPr txBox="1"/>
          <p:nvPr/>
        </p:nvSpPr>
        <p:spPr bwMode="gray">
          <a:xfrm>
            <a:off x="8891502" y="4001609"/>
            <a:ext cx="1759226" cy="138339"/>
          </a:xfrm>
          <a:prstGeom prst="rect">
            <a:avLst/>
          </a:prstGeom>
          <a:noFill/>
        </p:spPr>
        <p:txBody>
          <a:bodyPr wrap="none" lIns="0" tIns="0" rIns="0" bIns="0" rtlCol="0" anchor="ctr">
            <a:noAutofit/>
          </a:bodyPr>
          <a:lstStyle/>
          <a:p>
            <a:pPr defTabSz="914309"/>
            <a:r>
              <a:rPr lang="en-US" sz="1200" dirty="0">
                <a:solidFill>
                  <a:srgbClr val="000000"/>
                </a:solidFill>
                <a:latin typeface="Arial"/>
                <a:cs typeface="Arial"/>
              </a:rPr>
              <a:t>Apalutamide + ADT</a:t>
            </a:r>
          </a:p>
        </p:txBody>
      </p:sp>
      <p:sp>
        <p:nvSpPr>
          <p:cNvPr id="19" name="Rectangle 18">
            <a:extLst>
              <a:ext uri="{FF2B5EF4-FFF2-40B4-BE49-F238E27FC236}">
                <a16:creationId xmlns:a16="http://schemas.microsoft.com/office/drawing/2014/main" id="{56AB4671-3B86-6B42-C4D4-49C4D3FB110C}"/>
              </a:ext>
            </a:extLst>
          </p:cNvPr>
          <p:cNvSpPr/>
          <p:nvPr/>
        </p:nvSpPr>
        <p:spPr bwMode="gray">
          <a:xfrm>
            <a:off x="8747549" y="4236288"/>
            <a:ext cx="91416" cy="91416"/>
          </a:xfrm>
          <a:prstGeom prst="rect">
            <a:avLst/>
          </a:prstGeom>
          <a:solidFill>
            <a:schemeClr val="accent5">
              <a:lumMod val="40000"/>
              <a:lumOff val="6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dirty="0">
              <a:solidFill>
                <a:srgbClr val="FFFFFF"/>
              </a:solidFill>
              <a:latin typeface="Arial"/>
              <a:cs typeface="Arial"/>
            </a:endParaRPr>
          </a:p>
        </p:txBody>
      </p:sp>
      <p:sp>
        <p:nvSpPr>
          <p:cNvPr id="20" name="TextBox 19">
            <a:extLst>
              <a:ext uri="{FF2B5EF4-FFF2-40B4-BE49-F238E27FC236}">
                <a16:creationId xmlns:a16="http://schemas.microsoft.com/office/drawing/2014/main" id="{35676EF5-5EB6-AF50-957E-6D1B945C0A0C}"/>
              </a:ext>
            </a:extLst>
          </p:cNvPr>
          <p:cNvSpPr txBox="1"/>
          <p:nvPr/>
        </p:nvSpPr>
        <p:spPr bwMode="gray">
          <a:xfrm>
            <a:off x="8891502" y="4212930"/>
            <a:ext cx="1759226" cy="138339"/>
          </a:xfrm>
          <a:prstGeom prst="rect">
            <a:avLst/>
          </a:prstGeom>
          <a:noFill/>
        </p:spPr>
        <p:txBody>
          <a:bodyPr wrap="none" lIns="0" tIns="0" rIns="0" bIns="0" rtlCol="0" anchor="ctr">
            <a:noAutofit/>
          </a:bodyPr>
          <a:lstStyle/>
          <a:p>
            <a:pPr defTabSz="914309"/>
            <a:r>
              <a:rPr lang="en-US" sz="1200" dirty="0">
                <a:solidFill>
                  <a:srgbClr val="000000"/>
                </a:solidFill>
                <a:latin typeface="Arial"/>
                <a:cs typeface="Arial"/>
              </a:rPr>
              <a:t>Placebo + ADT</a:t>
            </a:r>
          </a:p>
        </p:txBody>
      </p:sp>
      <p:sp>
        <p:nvSpPr>
          <p:cNvPr id="49" name="TextBox 48">
            <a:extLst>
              <a:ext uri="{FF2B5EF4-FFF2-40B4-BE49-F238E27FC236}">
                <a16:creationId xmlns:a16="http://schemas.microsoft.com/office/drawing/2014/main" id="{FB50AD3F-1395-65E6-7219-396698F38953}"/>
              </a:ext>
            </a:extLst>
          </p:cNvPr>
          <p:cNvSpPr txBox="1"/>
          <p:nvPr/>
        </p:nvSpPr>
        <p:spPr bwMode="gray">
          <a:xfrm>
            <a:off x="325610" y="5828529"/>
            <a:ext cx="10530231" cy="877163"/>
          </a:xfrm>
          <a:prstGeom prst="rect">
            <a:avLst/>
          </a:prstGeom>
          <a:noFill/>
        </p:spPr>
        <p:txBody>
          <a:bodyPr wrap="square">
            <a:spAutoFit/>
          </a:bodyPr>
          <a:lstStyle/>
          <a:p>
            <a:pPr defTabSz="914309"/>
            <a:r>
              <a:rPr lang="en-US" sz="1100">
                <a:solidFill>
                  <a:srgbClr val="404140"/>
                </a:solidFill>
                <a:latin typeface="Arial"/>
                <a:cs typeface="Arial"/>
              </a:rPr>
              <a:t>*These studies show different clinical scenarios, include different patient populations, and are not intended to compare therapies.</a:t>
            </a:r>
          </a:p>
          <a:p>
            <a:pPr defTabSz="914309"/>
            <a:endParaRPr lang="en-US" sz="1100">
              <a:solidFill>
                <a:srgbClr val="404140"/>
              </a:solidFill>
              <a:latin typeface="Arial"/>
              <a:cs typeface="Arial"/>
            </a:endParaRPr>
          </a:p>
          <a:p>
            <a:pPr defTabSz="914309"/>
            <a:r>
              <a:rPr lang="en-US" sz="900">
                <a:solidFill>
                  <a:srgbClr val="404140"/>
                </a:solidFill>
                <a:latin typeface="Arial"/>
                <a:cs typeface="Arial"/>
              </a:rPr>
              <a:t>2. Saad F, et al. Presented at American Society of Clinical Oncology; June 3-7, 2022; Chicago, IL, USA. Abstract 5078 3.Saad et. al. Eur Urol. 2024 Apr 20:S0302-2838(24)02264-4. doi: 10.1016/j.eururo.2024.03.036 3. 6. Armstrong AJ, et al. J Clin Oncol 2019;37:2974-2986. 7. Chi KN et al. N Engl J Med. 2019; 381(1):13-24. 8. Chowdury S, et al; Ann Oncol. 2023 May;34(5):477-485.</a:t>
            </a:r>
          </a:p>
          <a:p>
            <a:pPr defTabSz="914309"/>
            <a:endParaRPr lang="en-US" sz="1100">
              <a:solidFill>
                <a:srgbClr val="404140"/>
              </a:solidFill>
              <a:latin typeface="Arial"/>
              <a:cs typeface="Arial"/>
            </a:endParaRPr>
          </a:p>
        </p:txBody>
      </p:sp>
      <p:pic>
        <p:nvPicPr>
          <p:cNvPr id="2" name="Picture 1">
            <a:extLst>
              <a:ext uri="{FF2B5EF4-FFF2-40B4-BE49-F238E27FC236}">
                <a16:creationId xmlns:a16="http://schemas.microsoft.com/office/drawing/2014/main" id="{AADE6CD7-E262-5492-34F6-9C083277E93F}"/>
              </a:ext>
            </a:extLst>
          </p:cNvPr>
          <p:cNvPicPr>
            <a:picLocks noChangeAspect="1"/>
          </p:cNvPicPr>
          <p:nvPr/>
        </p:nvPicPr>
        <p:blipFill>
          <a:blip r:embed="rId4"/>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32007550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4">
            <a:extLst>
              <a:ext uri="{FF2B5EF4-FFF2-40B4-BE49-F238E27FC236}">
                <a16:creationId xmlns:a16="http://schemas.microsoft.com/office/drawing/2014/main" id="{FFE2F858-B106-4080-B0F3-7634B8215CF3}"/>
              </a:ext>
            </a:extLst>
          </p:cNvPr>
          <p:cNvSpPr txBox="1">
            <a:spLocks/>
          </p:cNvSpPr>
          <p:nvPr/>
        </p:nvSpPr>
        <p:spPr>
          <a:xfrm>
            <a:off x="460039" y="1239912"/>
            <a:ext cx="7331224" cy="4809363"/>
          </a:xfrm>
          <a:prstGeom prst="rect">
            <a:avLst/>
          </a:prstGeom>
        </p:spPr>
        <p:txBody>
          <a:bodyPr lIns="91428" tIns="45714" rIns="91428" bIns="45714" anchor="t"/>
          <a:lstStyle>
            <a:lvl1pPr marL="0" indent="0" algn="l" defTabSz="914400" rtl="0" eaLnBrk="1" latinLnBrk="0" hangingPunct="1">
              <a:spcBef>
                <a:spcPts val="1200"/>
              </a:spcBef>
              <a:spcAft>
                <a:spcPts val="600"/>
              </a:spcAft>
              <a:buFont typeface="Arial" panose="020B0604020202020204" pitchFamily="34" charset="0"/>
              <a:buNone/>
              <a:defRPr sz="1800" b="0" kern="1200" baseline="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6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4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269848" lvl="1" indent="-269848" defTabSz="914218">
              <a:lnSpc>
                <a:spcPct val="90000"/>
              </a:lnSpc>
              <a:spcBef>
                <a:spcPts val="200"/>
              </a:spcBef>
              <a:spcAft>
                <a:spcPts val="200"/>
              </a:spcAft>
              <a:defRPr/>
            </a:pPr>
            <a:endParaRPr lang="en-US" sz="1200">
              <a:solidFill>
                <a:srgbClr val="000000"/>
              </a:solidFill>
              <a:latin typeface="Arial"/>
              <a:ea typeface="Arial Unicode MS"/>
              <a:cs typeface="Arial"/>
            </a:endParaRPr>
          </a:p>
        </p:txBody>
      </p:sp>
      <p:sp>
        <p:nvSpPr>
          <p:cNvPr id="31" name="Text Placeholder 1">
            <a:extLst>
              <a:ext uri="{FF2B5EF4-FFF2-40B4-BE49-F238E27FC236}">
                <a16:creationId xmlns:a16="http://schemas.microsoft.com/office/drawing/2014/main" id="{6CD6F3E8-0124-47E8-B86B-60BE2441548B}"/>
              </a:ext>
            </a:extLst>
          </p:cNvPr>
          <p:cNvSpPr txBox="1">
            <a:spLocks/>
          </p:cNvSpPr>
          <p:nvPr/>
        </p:nvSpPr>
        <p:spPr bwMode="gray">
          <a:xfrm>
            <a:off x="452227" y="2340039"/>
            <a:ext cx="3573086" cy="539931"/>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b="0" kern="1200" baseline="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6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4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269973" lvl="1" indent="-269973" defTabSz="914309">
              <a:defRPr/>
            </a:pPr>
            <a:endParaRPr lang="en-US" sz="1200">
              <a:solidFill>
                <a:srgbClr val="000000"/>
              </a:solidFill>
              <a:latin typeface="Arial" panose="020B0604020202020204" pitchFamily="34" charset="0"/>
              <a:ea typeface="Arial Unicode MS"/>
              <a:cs typeface="Arial"/>
            </a:endParaRPr>
          </a:p>
        </p:txBody>
      </p:sp>
      <p:sp>
        <p:nvSpPr>
          <p:cNvPr id="11" name="Title 2">
            <a:extLst>
              <a:ext uri="{FF2B5EF4-FFF2-40B4-BE49-F238E27FC236}">
                <a16:creationId xmlns:a16="http://schemas.microsoft.com/office/drawing/2014/main" id="{6C36412C-6F49-93C2-FC18-D2904ED12950}"/>
              </a:ext>
            </a:extLst>
          </p:cNvPr>
          <p:cNvSpPr>
            <a:spLocks noGrp="1"/>
          </p:cNvSpPr>
          <p:nvPr>
            <p:ph type="title"/>
          </p:nvPr>
        </p:nvSpPr>
        <p:spPr/>
        <p:txBody>
          <a:bodyPr anchor="ctr">
            <a:noAutofit/>
          </a:bodyPr>
          <a:lstStyle/>
          <a:p>
            <a:pPr defTabSz="914309">
              <a:spcBef>
                <a:spcPts val="600"/>
              </a:spcBef>
              <a:defRPr/>
            </a:pPr>
            <a:r>
              <a:rPr lang="en-US" sz="2300" b="1" dirty="0">
                <a:solidFill>
                  <a:srgbClr val="FFFFFF"/>
                </a:solidFill>
                <a:latin typeface="Arial"/>
                <a:ea typeface="Arial Unicode MS"/>
                <a:cs typeface="Arial"/>
              </a:rPr>
              <a:t>Summary Author Conclusions</a:t>
            </a:r>
          </a:p>
        </p:txBody>
      </p:sp>
      <p:sp>
        <p:nvSpPr>
          <p:cNvPr id="2" name="object 3">
            <a:extLst>
              <a:ext uri="{FF2B5EF4-FFF2-40B4-BE49-F238E27FC236}">
                <a16:creationId xmlns:a16="http://schemas.microsoft.com/office/drawing/2014/main" id="{41F25E18-A087-42CD-DE01-3A70C0E2E742}"/>
              </a:ext>
            </a:extLst>
          </p:cNvPr>
          <p:cNvSpPr txBox="1"/>
          <p:nvPr/>
        </p:nvSpPr>
        <p:spPr>
          <a:xfrm>
            <a:off x="588170" y="1874520"/>
            <a:ext cx="11254303" cy="3886200"/>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91428" tIns="91428" rIns="91428" bIns="91428"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33" indent="-171433" defTabSz="914309">
              <a:spcBef>
                <a:spcPts val="1800"/>
              </a:spcBef>
              <a:spcAft>
                <a:spcPts val="1800"/>
              </a:spcAft>
              <a:buFont typeface="Arial" panose="020B0604020202020204" pitchFamily="34" charset="0"/>
              <a:buChar char="•"/>
              <a:defRPr/>
            </a:pPr>
            <a:r>
              <a:rPr lang="en-US" dirty="0">
                <a:solidFill>
                  <a:schemeClr val="tx1"/>
                </a:solidFill>
                <a:latin typeface="Arial"/>
                <a:ea typeface="Arial Unicode MS"/>
                <a:cs typeface="Arial"/>
              </a:rPr>
              <a:t>Patients with </a:t>
            </a:r>
            <a:r>
              <a:rPr lang="en-US" dirty="0" err="1">
                <a:solidFill>
                  <a:schemeClr val="tx1"/>
                </a:solidFill>
                <a:latin typeface="Arial"/>
                <a:ea typeface="Arial Unicode MS"/>
                <a:cs typeface="Arial"/>
              </a:rPr>
              <a:t>mHSPC</a:t>
            </a:r>
            <a:r>
              <a:rPr lang="en-US" dirty="0">
                <a:solidFill>
                  <a:schemeClr val="tx1"/>
                </a:solidFill>
                <a:latin typeface="Arial"/>
                <a:ea typeface="Arial Unicode MS"/>
                <a:cs typeface="Arial"/>
              </a:rPr>
              <a:t> treated with </a:t>
            </a:r>
            <a:r>
              <a:rPr lang="en-US" dirty="0" err="1">
                <a:solidFill>
                  <a:schemeClr val="tx1"/>
                </a:solidFill>
                <a:latin typeface="Arial"/>
                <a:ea typeface="Arial Unicode MS"/>
                <a:cs typeface="Arial"/>
              </a:rPr>
              <a:t>darolutamide</a:t>
            </a:r>
            <a:r>
              <a:rPr lang="en-US" dirty="0">
                <a:solidFill>
                  <a:schemeClr val="tx1"/>
                </a:solidFill>
                <a:latin typeface="Arial"/>
                <a:ea typeface="Arial Unicode MS"/>
                <a:cs typeface="Arial"/>
              </a:rPr>
              <a:t> plus ADT and docetaxel in ARASENS achieved deep and durable PSA responses in comparison with to placebo plus ADT and docetaxel</a:t>
            </a:r>
          </a:p>
          <a:p>
            <a:pPr marL="171433" indent="-171433" defTabSz="914309">
              <a:spcBef>
                <a:spcPts val="1800"/>
              </a:spcBef>
              <a:spcAft>
                <a:spcPts val="1800"/>
              </a:spcAft>
              <a:buFont typeface="Arial" panose="020B0604020202020204" pitchFamily="34" charset="0"/>
              <a:buChar char="•"/>
              <a:defRPr/>
            </a:pPr>
            <a:r>
              <a:rPr lang="en-US" dirty="0">
                <a:solidFill>
                  <a:schemeClr val="tx1"/>
                </a:solidFill>
                <a:latin typeface="Arial"/>
                <a:ea typeface="Arial Unicode MS"/>
                <a:cs typeface="Arial"/>
              </a:rPr>
              <a:t>Achievement of undetectable PSA was correlated with increased better OS, a longer time to CRPC, and a longer time to PSA progression.</a:t>
            </a:r>
          </a:p>
          <a:p>
            <a:pPr marL="171433" indent="-171433" defTabSz="914309">
              <a:spcBef>
                <a:spcPts val="1800"/>
              </a:spcBef>
              <a:spcAft>
                <a:spcPts val="1800"/>
              </a:spcAft>
              <a:buFont typeface="Arial" panose="020B0604020202020204" pitchFamily="34" charset="0"/>
              <a:buChar char="•"/>
              <a:defRPr/>
            </a:pPr>
            <a:r>
              <a:rPr lang="en-US" dirty="0">
                <a:solidFill>
                  <a:schemeClr val="tx1"/>
                </a:solidFill>
                <a:latin typeface="Arial"/>
                <a:ea typeface="Arial Unicode MS"/>
                <a:cs typeface="Arial"/>
              </a:rPr>
              <a:t>Deep PSA response (undetectable PSA) was correlated with prolonged time to PSA progression and improved survival in </a:t>
            </a:r>
            <a:r>
              <a:rPr lang="en-US" dirty="0" err="1">
                <a:solidFill>
                  <a:schemeClr val="tx1"/>
                </a:solidFill>
                <a:latin typeface="Arial"/>
                <a:ea typeface="Arial Unicode MS"/>
                <a:cs typeface="Arial"/>
              </a:rPr>
              <a:t>darolutamide</a:t>
            </a:r>
            <a:r>
              <a:rPr lang="en-US" dirty="0">
                <a:solidFill>
                  <a:schemeClr val="tx1"/>
                </a:solidFill>
                <a:latin typeface="Arial"/>
                <a:ea typeface="Arial Unicode MS"/>
                <a:cs typeface="Arial"/>
              </a:rPr>
              <a:t>-treated patients with high- and low-volume and high- and low-risk </a:t>
            </a:r>
            <a:r>
              <a:rPr lang="en-US" dirty="0" err="1">
                <a:solidFill>
                  <a:schemeClr val="tx1"/>
                </a:solidFill>
                <a:latin typeface="Arial"/>
                <a:ea typeface="Arial Unicode MS"/>
                <a:cs typeface="Arial"/>
              </a:rPr>
              <a:t>mHSPC</a:t>
            </a:r>
            <a:endParaRPr lang="en-US" dirty="0">
              <a:solidFill>
                <a:schemeClr val="tx1"/>
              </a:solidFill>
              <a:latin typeface="Arial"/>
              <a:ea typeface="Arial Unicode MS"/>
              <a:cs typeface="Arial"/>
            </a:endParaRPr>
          </a:p>
          <a:p>
            <a:pPr marL="171433" indent="-171433" defTabSz="914309">
              <a:spcBef>
                <a:spcPts val="600"/>
              </a:spcBef>
              <a:buFont typeface="Arial" panose="020B0604020202020204" pitchFamily="34" charset="0"/>
              <a:buChar char="•"/>
              <a:defRPr/>
            </a:pPr>
            <a:r>
              <a:rPr lang="en-US" dirty="0">
                <a:solidFill>
                  <a:schemeClr val="tx1"/>
                </a:solidFill>
                <a:latin typeface="Arial"/>
                <a:ea typeface="Arial Unicode MS"/>
                <a:cs typeface="Arial"/>
              </a:rPr>
              <a:t>These findings add to the evidence supporting PSA response as an important prognostic indicator for patients with </a:t>
            </a:r>
            <a:r>
              <a:rPr lang="en-US" dirty="0" err="1">
                <a:solidFill>
                  <a:schemeClr val="tx1"/>
                </a:solidFill>
                <a:latin typeface="Arial"/>
                <a:ea typeface="Arial Unicode MS"/>
                <a:cs typeface="Arial"/>
              </a:rPr>
              <a:t>mHSPC</a:t>
            </a:r>
            <a:r>
              <a:rPr lang="en-US" dirty="0">
                <a:solidFill>
                  <a:schemeClr val="tx1"/>
                </a:solidFill>
                <a:latin typeface="Arial"/>
                <a:ea typeface="Arial Unicode MS"/>
                <a:cs typeface="Arial"/>
              </a:rPr>
              <a:t> and extend the findings to include patients regardless of disease volume or risk</a:t>
            </a:r>
          </a:p>
        </p:txBody>
      </p:sp>
      <p:sp>
        <p:nvSpPr>
          <p:cNvPr id="9" name="Footer Placeholder 4">
            <a:extLst>
              <a:ext uri="{FF2B5EF4-FFF2-40B4-BE49-F238E27FC236}">
                <a16:creationId xmlns:a16="http://schemas.microsoft.com/office/drawing/2014/main" id="{16ED3C4E-FC87-2799-3C4F-B7A4A2101F0D}"/>
              </a:ext>
            </a:extLst>
          </p:cNvPr>
          <p:cNvSpPr txBox="1">
            <a:spLocks/>
          </p:cNvSpPr>
          <p:nvPr/>
        </p:nvSpPr>
        <p:spPr>
          <a:xfrm>
            <a:off x="588170" y="6408656"/>
            <a:ext cx="11485010" cy="441872"/>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dirty="0">
                <a:solidFill>
                  <a:srgbClr val="000000">
                    <a:lumMod val="50000"/>
                    <a:lumOff val="50000"/>
                  </a:srgbClr>
                </a:solidFill>
              </a:rPr>
              <a:t>3</a:t>
            </a:r>
            <a:r>
              <a:rPr lang="en-US" sz="900">
                <a:solidFill>
                  <a:srgbClr val="000000">
                    <a:lumMod val="50000"/>
                    <a:lumOff val="50000"/>
                  </a:srgbClr>
                </a:solidFill>
              </a:rPr>
              <a:t>. </a:t>
            </a:r>
            <a:r>
              <a:rPr lang="en-US" sz="900" dirty="0">
                <a:solidFill>
                  <a:srgbClr val="000000">
                    <a:lumMod val="50000"/>
                    <a:lumOff val="50000"/>
                  </a:srgbClr>
                </a:solidFill>
              </a:rPr>
              <a:t>Saad et. al. Eur Urol. 2024 Apr 20:S0302-2838(24)02264-4. </a:t>
            </a:r>
            <a:r>
              <a:rPr lang="en-US" sz="900" dirty="0" err="1">
                <a:solidFill>
                  <a:srgbClr val="000000">
                    <a:lumMod val="50000"/>
                    <a:lumOff val="50000"/>
                  </a:srgbClr>
                </a:solidFill>
              </a:rPr>
              <a:t>doi</a:t>
            </a:r>
            <a:r>
              <a:rPr lang="en-US" sz="900" dirty="0">
                <a:solidFill>
                  <a:srgbClr val="000000">
                    <a:lumMod val="50000"/>
                    <a:lumOff val="50000"/>
                  </a:srgbClr>
                </a:solidFill>
              </a:rPr>
              <a:t>: 10.1016/j.eururo.2024.03.036</a:t>
            </a:r>
            <a:endParaRPr lang="en-US" sz="900" dirty="0">
              <a:solidFill>
                <a:schemeClr val="tx1">
                  <a:lumMod val="50000"/>
                  <a:lumOff val="50000"/>
                </a:schemeClr>
              </a:solidFill>
            </a:endParaRPr>
          </a:p>
        </p:txBody>
      </p:sp>
      <p:pic>
        <p:nvPicPr>
          <p:cNvPr id="3" name="Picture 2">
            <a:extLst>
              <a:ext uri="{FF2B5EF4-FFF2-40B4-BE49-F238E27FC236}">
                <a16:creationId xmlns:a16="http://schemas.microsoft.com/office/drawing/2014/main" id="{4F79D1B2-90AF-7683-2534-A86C044F9079}"/>
              </a:ext>
            </a:extLst>
          </p:cNvPr>
          <p:cNvPicPr>
            <a:picLocks noChangeAspect="1"/>
          </p:cNvPicPr>
          <p:nvPr/>
        </p:nvPicPr>
        <p:blipFill>
          <a:blip r:embed="rId7"/>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24714811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CB8D23-F0B4-F219-4DC6-F99B16B27319}"/>
            </a:ext>
          </a:extLst>
        </p:cNvPr>
        <p:cNvGrpSpPr/>
        <p:nvPr/>
      </p:nvGrpSpPr>
      <p:grpSpPr>
        <a:xfrm>
          <a:off x="0" y="0"/>
          <a:ext cx="0" cy="0"/>
          <a:chOff x="0" y="0"/>
          <a:chExt cx="0" cy="0"/>
        </a:xfrm>
      </p:grpSpPr>
      <p:pic>
        <p:nvPicPr>
          <p:cNvPr id="35" name="Picture 34">
            <a:extLst>
              <a:ext uri="{FF2B5EF4-FFF2-40B4-BE49-F238E27FC236}">
                <a16:creationId xmlns:a16="http://schemas.microsoft.com/office/drawing/2014/main" id="{BF96701F-C98D-EBB6-AF81-5A36E89A47D5}"/>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6715" y="-19397"/>
            <a:ext cx="12205651" cy="1078852"/>
          </a:xfrm>
          <a:prstGeom prst="rect">
            <a:avLst/>
          </a:prstGeom>
        </p:spPr>
      </p:pic>
      <p:sp>
        <p:nvSpPr>
          <p:cNvPr id="49" name="TextBox 48">
            <a:extLst>
              <a:ext uri="{FF2B5EF4-FFF2-40B4-BE49-F238E27FC236}">
                <a16:creationId xmlns:a16="http://schemas.microsoft.com/office/drawing/2014/main" id="{1ED2805F-D526-37CC-1DA0-FCBC243767C7}"/>
              </a:ext>
            </a:extLst>
          </p:cNvPr>
          <p:cNvSpPr txBox="1"/>
          <p:nvPr/>
        </p:nvSpPr>
        <p:spPr>
          <a:xfrm>
            <a:off x="234145" y="1264393"/>
            <a:ext cx="11277791" cy="3000821"/>
          </a:xfrm>
          <a:prstGeom prst="rect">
            <a:avLst/>
          </a:prstGeom>
          <a:noFill/>
        </p:spPr>
        <p:txBody>
          <a:bodyPr wrap="square">
            <a:spAutoFit/>
          </a:bodyPr>
          <a:lstStyle/>
          <a:p>
            <a:pPr marL="228600" indent="-228600" algn="just" defTabSz="914309">
              <a:buFont typeface="+mj-lt"/>
              <a:buAutoNum type="arabicPeriod"/>
              <a:defRPr/>
            </a:pPr>
            <a:r>
              <a:rPr lang="en-US" altLang="en-US" sz="1050">
                <a:solidFill>
                  <a:srgbClr val="77787B"/>
                </a:solidFill>
                <a:latin typeface="Arial"/>
                <a:cs typeface="Arial"/>
              </a:rPr>
              <a:t>Saad et al. Prostate-Specific Antigen (PSA) Outcomes With Darolutamide (DARO), Androgen-Deprivation Therapy (ADT) and Docetaxel (DOC) in Patients (Pts) With High- and Low-Volume Metastatic Hormone-Sensitive Prostate Cancer (mHSPC) in ARASENS ESMO 2023, Abstract 1784P.</a:t>
            </a:r>
          </a:p>
          <a:p>
            <a:pPr marL="228600" indent="-228600" algn="just" defTabSz="914309">
              <a:buFont typeface="+mj-lt"/>
              <a:buAutoNum type="arabicPeriod"/>
              <a:defRPr/>
            </a:pPr>
            <a:r>
              <a:rPr lang="en-US" altLang="en-US" sz="1050">
                <a:solidFill>
                  <a:srgbClr val="77787B"/>
                </a:solidFill>
                <a:latin typeface="Arial"/>
                <a:cs typeface="Arial"/>
              </a:rPr>
              <a:t>Saad F, et al. Association of prostate-specific antigen (PSA) response and overall survival (OS) in patients with metastatic hormone-sensitive prostate cancer (mHSPC) from the phase 3 ARASENS trial. Presented at American Society of Clinical Oncology; June 3-7, 2022; Chicago, IL, USA. Abstract 5078</a:t>
            </a:r>
          </a:p>
          <a:p>
            <a:pPr marL="228600" indent="-228600" algn="just" defTabSz="914309">
              <a:buFont typeface="+mj-lt"/>
              <a:buAutoNum type="arabicPeriod"/>
              <a:defRPr/>
            </a:pPr>
            <a:r>
              <a:rPr lang="de-DE" altLang="en-US" sz="1050">
                <a:solidFill>
                  <a:srgbClr val="77787B"/>
                </a:solidFill>
                <a:latin typeface="Arial"/>
                <a:cs typeface="Arial"/>
              </a:rPr>
              <a:t>Saad F., et al. Deep and Durable Prostate-specific Antigen Response to Darolutamide with Androgen Deprivation Therapy and Docetaxel, and Association with Clinical Outcomes for Patients with High- or Low-volume Metastatic Hormone-sensitive Prostate Cancer:Analyses of the Randomized Phase 3 ARASENS Study. Eur Urol. 2024 Apr 20:S0302-2838(24)02264-4.</a:t>
            </a:r>
          </a:p>
          <a:p>
            <a:pPr marL="228600" indent="-228600" algn="just" defTabSz="914309">
              <a:buFont typeface="+mj-lt"/>
              <a:buAutoNum type="arabicPeriod"/>
              <a:defRPr/>
            </a:pPr>
            <a:r>
              <a:rPr lang="de-DE" altLang="en-US" sz="1050">
                <a:solidFill>
                  <a:srgbClr val="77787B"/>
                </a:solidFill>
                <a:latin typeface="Arial"/>
                <a:cs typeface="Arial"/>
              </a:rPr>
              <a:t>Fachinformation Schweiz Nubeqa (Darolutamid): www.swissmedicinfo.ch</a:t>
            </a:r>
          </a:p>
          <a:p>
            <a:pPr marL="228600" indent="-228600" algn="just" defTabSz="914309">
              <a:buFont typeface="+mj-lt"/>
              <a:buAutoNum type="arabicPeriod"/>
              <a:defRPr/>
            </a:pPr>
            <a:r>
              <a:rPr lang="fr-FR" altLang="en-US" sz="1050">
                <a:solidFill>
                  <a:srgbClr val="77787B"/>
                </a:solidFill>
                <a:latin typeface="Arial"/>
                <a:cs typeface="Arial"/>
              </a:rPr>
              <a:t>Kyriakopoulos CE, et al. </a:t>
            </a:r>
            <a:r>
              <a:rPr lang="en-US" altLang="en-US" sz="1050">
                <a:solidFill>
                  <a:srgbClr val="77787B"/>
                </a:solidFill>
                <a:latin typeface="Arial"/>
                <a:cs typeface="Arial"/>
              </a:rPr>
              <a:t>Chemohormonal Therapy in Metastatic Hormone-Sensitive Prostate Cancer: Long-Term Survival Analysis of the Randomized Phase III E3805 CHAARTED Trial. </a:t>
            </a:r>
            <a:r>
              <a:rPr lang="fr-FR" altLang="en-US" sz="1050">
                <a:solidFill>
                  <a:srgbClr val="77787B"/>
                </a:solidFill>
                <a:latin typeface="Arial"/>
                <a:cs typeface="Arial"/>
              </a:rPr>
              <a:t>J Clin Oncol. 2018;36(11):1080-1087. </a:t>
            </a:r>
          </a:p>
          <a:p>
            <a:pPr marL="228600" indent="-228600" algn="just" defTabSz="914309">
              <a:buFont typeface="+mj-lt"/>
              <a:buAutoNum type="arabicPeriod"/>
              <a:defRPr/>
            </a:pPr>
            <a:r>
              <a:rPr lang="de-DE" altLang="en-US" sz="1050">
                <a:solidFill>
                  <a:srgbClr val="77787B"/>
                </a:solidFill>
                <a:latin typeface="Arial"/>
                <a:cs typeface="Arial"/>
              </a:rPr>
              <a:t>Armstrong AJ, et al. ARCHES: A Randomized, Phase III Study of Androgen Deprivation Therapy With Enzalutamide or Placebo in Men With Metastatic Hormone-Sensitive Prostate Cancer.J Clin Oncol 2019;37:2974-2986. </a:t>
            </a:r>
          </a:p>
          <a:p>
            <a:pPr marL="228600" indent="-228600" algn="just" defTabSz="914309">
              <a:buFont typeface="+mj-lt"/>
              <a:buAutoNum type="arabicPeriod"/>
              <a:defRPr/>
            </a:pPr>
            <a:r>
              <a:rPr lang="de-DE" altLang="en-US" sz="1050">
                <a:solidFill>
                  <a:srgbClr val="77787B"/>
                </a:solidFill>
                <a:latin typeface="Arial"/>
                <a:cs typeface="Arial"/>
              </a:rPr>
              <a:t>Chi KN et al. Apalutamide for Metastatic, Castration-Sensitive Prostate Cancer.N Engl J Med. 2019; 381(1):13-24. </a:t>
            </a:r>
          </a:p>
          <a:p>
            <a:pPr marL="228600" indent="-228600" algn="just" defTabSz="914309">
              <a:buFont typeface="+mj-lt"/>
              <a:buAutoNum type="arabicPeriod"/>
              <a:defRPr/>
            </a:pPr>
            <a:r>
              <a:rPr lang="en-US" altLang="en-US" sz="1050">
                <a:solidFill>
                  <a:srgbClr val="77787B"/>
                </a:solidFill>
                <a:latin typeface="Arial"/>
                <a:cs typeface="Arial"/>
              </a:rPr>
              <a:t>Chowdury S, et al. Deep, rapid, and durable prostate-specific antigen decline with apalutamide plus androgen deprivation therapy is associated with longer survival and improved clinical outcomes in TITAN patients with metastatic castration-sensitive prostate cancer. Ann Oncol. 2023 May;34(5):477-485.</a:t>
            </a:r>
            <a:endParaRPr lang="de-DE" altLang="en-US" sz="1050">
              <a:solidFill>
                <a:srgbClr val="77787B"/>
              </a:solidFill>
              <a:latin typeface="Arial"/>
              <a:cs typeface="Arial"/>
            </a:endParaRPr>
          </a:p>
          <a:p>
            <a:pPr marL="228600" indent="-228600" algn="just" defTabSz="914309">
              <a:buFont typeface="+mj-lt"/>
              <a:buAutoNum type="arabicPeriod"/>
              <a:defRPr/>
            </a:pPr>
            <a:endParaRPr lang="de-DE" altLang="en-US" sz="1050">
              <a:solidFill>
                <a:srgbClr val="77787B"/>
              </a:solidFill>
              <a:latin typeface="Arial"/>
              <a:cs typeface="Arial"/>
            </a:endParaRPr>
          </a:p>
          <a:p>
            <a:pPr algn="just" defTabSz="914309">
              <a:defRPr/>
            </a:pPr>
            <a:endParaRPr lang="de-DE" altLang="en-US" sz="1050">
              <a:solidFill>
                <a:srgbClr val="77787B"/>
              </a:solidFill>
              <a:latin typeface="Arial"/>
              <a:cs typeface="Arial"/>
            </a:endParaRPr>
          </a:p>
          <a:p>
            <a:pPr algn="just" defTabSz="914309">
              <a:defRPr/>
            </a:pPr>
            <a:r>
              <a:rPr lang="en-US" altLang="en-US" sz="1050" i="1">
                <a:solidFill>
                  <a:srgbClr val="77787B"/>
                </a:solidFill>
                <a:latin typeface="Arial" panose="020B0604020202020204" pitchFamily="34" charset="0"/>
                <a:cs typeface="Arial" panose="020B0604020202020204" pitchFamily="34" charset="0"/>
              </a:rPr>
              <a:t>The referenced data, or publications, are available upon request.</a:t>
            </a:r>
            <a:endParaRPr lang="en-US" altLang="en-US" sz="1050" i="1" dirty="0">
              <a:solidFill>
                <a:srgbClr val="77787B"/>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9D358CC8-C8C0-5E0C-A64F-B99E8EAAB3BD}"/>
              </a:ext>
            </a:extLst>
          </p:cNvPr>
          <p:cNvSpPr txBox="1"/>
          <p:nvPr>
            <p:custDataLst>
              <p:tags r:id="rId1"/>
            </p:custDataLst>
          </p:nvPr>
        </p:nvSpPr>
        <p:spPr>
          <a:xfrm>
            <a:off x="234145" y="268066"/>
            <a:ext cx="9702886" cy="461605"/>
          </a:xfrm>
          <a:prstGeom prst="rect">
            <a:avLst/>
          </a:prstGeom>
          <a:noFill/>
        </p:spPr>
        <p:txBody>
          <a:bodyPr wrap="square" rtlCol="0">
            <a:spAutoFit/>
          </a:bodyPr>
          <a:lstStyle/>
          <a:p>
            <a:pPr defTabSz="914309">
              <a:defRPr/>
            </a:pPr>
            <a:r>
              <a:rPr lang="de-DE" sz="2400" b="1">
                <a:solidFill>
                  <a:srgbClr val="FBFBFB"/>
                </a:solidFill>
                <a:latin typeface="Arial" panose="020B0604020202020204" pitchFamily="34" charset="0"/>
                <a:cs typeface="Arial" panose="020B0604020202020204" pitchFamily="34" charset="0"/>
              </a:rPr>
              <a:t>References </a:t>
            </a:r>
            <a:endParaRPr lang="en-US" sz="2400" b="1" cap="all" baseline="30000" dirty="0">
              <a:solidFill>
                <a:srgbClr val="FF5F06"/>
              </a:solidFill>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18574B05-45A3-CEC7-2C12-70E0C785C463}"/>
              </a:ext>
            </a:extLst>
          </p:cNvPr>
          <p:cNvPicPr>
            <a:picLocks noChangeAspect="1"/>
          </p:cNvPicPr>
          <p:nvPr/>
        </p:nvPicPr>
        <p:blipFill>
          <a:blip r:embed="rId4"/>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17041041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54E49-EF59-5EB1-DEAA-1C60E624D18E}"/>
            </a:ext>
          </a:extLst>
        </p:cNvPr>
        <p:cNvGrpSpPr/>
        <p:nvPr/>
      </p:nvGrpSpPr>
      <p:grpSpPr>
        <a:xfrm>
          <a:off x="0" y="0"/>
          <a:ext cx="0" cy="0"/>
          <a:chOff x="0" y="0"/>
          <a:chExt cx="0" cy="0"/>
        </a:xfrm>
      </p:grpSpPr>
      <p:pic>
        <p:nvPicPr>
          <p:cNvPr id="35" name="Picture 34">
            <a:extLst>
              <a:ext uri="{FF2B5EF4-FFF2-40B4-BE49-F238E27FC236}">
                <a16:creationId xmlns:a16="http://schemas.microsoft.com/office/drawing/2014/main" id="{92710806-2A73-B8F0-C4EE-089BCC840195}"/>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6715" y="-19397"/>
            <a:ext cx="12205651" cy="1078852"/>
          </a:xfrm>
          <a:prstGeom prst="rect">
            <a:avLst/>
          </a:prstGeom>
        </p:spPr>
      </p:pic>
      <p:sp>
        <p:nvSpPr>
          <p:cNvPr id="49" name="TextBox 48">
            <a:extLst>
              <a:ext uri="{FF2B5EF4-FFF2-40B4-BE49-F238E27FC236}">
                <a16:creationId xmlns:a16="http://schemas.microsoft.com/office/drawing/2014/main" id="{EA19D60B-01E9-913F-1BBF-AFD46B1DD14C}"/>
              </a:ext>
            </a:extLst>
          </p:cNvPr>
          <p:cNvSpPr txBox="1"/>
          <p:nvPr/>
        </p:nvSpPr>
        <p:spPr>
          <a:xfrm>
            <a:off x="234145" y="1264393"/>
            <a:ext cx="11277791" cy="4328493"/>
          </a:xfrm>
          <a:prstGeom prst="rect">
            <a:avLst/>
          </a:prstGeom>
          <a:noFill/>
        </p:spPr>
        <p:txBody>
          <a:bodyPr wrap="square">
            <a:spAutoFit/>
          </a:bodyPr>
          <a:lstStyle/>
          <a:p>
            <a:pPr algn="just">
              <a:lnSpc>
                <a:spcPct val="107000"/>
              </a:lnSpc>
              <a:spcAft>
                <a:spcPts val="1000"/>
              </a:spcAft>
            </a:pPr>
            <a:r>
              <a:rPr lang="it-IT" sz="1050" b="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This medicinal product is subject to additional monitoring. </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For further information, see Summary of Product Characteristics/Patient Information Leaflet for NUBEQA</a:t>
            </a:r>
            <a:r>
              <a:rPr lang="it-IT" sz="1050" baseline="3000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at </a:t>
            </a:r>
            <a:r>
              <a:rPr lang="it-IT" sz="1050" u="sng">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www.swissmedicinfo</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ch.</a:t>
            </a:r>
            <a:endParaRPr lang="de-DE" sz="105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1000"/>
              </a:spcAft>
            </a:pPr>
            <a:r>
              <a:rPr lang="it-IT" sz="1050" b="1">
                <a:solidFill>
                  <a:schemeClr val="tx1">
                    <a:lumMod val="50000"/>
                    <a:lumOff val="50000"/>
                  </a:schemeClr>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de-DE" sz="105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it-IT" sz="1050" b="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Short product information NUBEQA</a:t>
            </a:r>
            <a:r>
              <a:rPr lang="it-IT" sz="1050" b="1" baseline="3000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a:t>
            </a:r>
            <a:r>
              <a:rPr lang="it-IT" sz="1050" b="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a:t>
            </a:r>
            <a:endParaRPr lang="de-DE" sz="105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it-IT" sz="1050" b="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Active substance:</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Darolutamide. </a:t>
            </a:r>
            <a:r>
              <a:rPr lang="it-IT" sz="1050" b="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Indication:</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NUBEQA, in combination with docetaxel and androgen deprivation therapy (ADT), is indicated for the treatment of adult patients with metastatic hormone-sensitive prostate cancer (mHSPC), for whom docetaxel therapy is indicated. NUBEQA, in combination with ADT, is indicated for the treatment of adult patients with non-metastatic, castration-resistant prostate cancer (nmCRPC), for those who are at high risk of developing metastases (especially with a PSADT ≤ 10 months). </a:t>
            </a:r>
            <a:r>
              <a:rPr lang="it-IT" sz="1050" b="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Dosage/Administration: </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600 mg (two 300-mg film-coated tablets) taken twice daily with a meal (total daily dose of 1200 mg). Patients receiving NUBEQA should also receive an LHRH analogue concurrently or have had a bilateral orchiectomy. Patients with mHSPC should start treatment with NUBEQA in combination with six cycles of docetaxel. </a:t>
            </a:r>
            <a:r>
              <a:rPr lang="it-IT" sz="1050" b="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Contraindications:</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Hypersensitivity to the active pharmaceutical ingredient or to one of the excipients. Women who are pregnant or of childbearing potential. </a:t>
            </a:r>
            <a:r>
              <a:rPr lang="it-IT" sz="1050" b="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Special warnings/precautions for use:</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Renal/hepatic impairment: Closely monitor patients with severe renal impairment or moderate/severe hepatic impairment for adverse reactions. Hepatotoxicity: In case of liver function test abnormalities suggestive of idiosyncratic DILI, NUBEQA must be permanently discontinued. ADT can prolong the QT interval: In case of risk factors or concomitant medication that prolong the QT interval, ECG monitoring should be considered. Contraception: Sexually active patients must use a highly effective form of contraception. Bone density: may be affected during treatment with NUBEQA due to long-term testosterone suppression. Recent cariovascular disease: The safety of NUBEQA in patients with a clinically relevant cardiovascular disease in the last six months has not been proven, follow current guidelines. The prescribed dose is practically “sodium free”. Do not take if you have hereditary galactose intolerance, total lactase deficiency, or glucose-galactose malabsorption. </a:t>
            </a:r>
            <a:r>
              <a:rPr lang="it-IT" sz="1050" b="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Adverse effects</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a:t>
            </a:r>
            <a:r>
              <a:rPr lang="it-IT" sz="1050" i="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NUBEQA</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Very common: Neutrophil count decreased, AST increased, bilirubin increased, fatigue. Common: Ischaemic heart disease, cardiac failure, rash, pain in extremities, musculoskeletal pain, fractures. </a:t>
            </a:r>
            <a:r>
              <a:rPr lang="it-IT" sz="1050" i="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NUBEQA in combination with docetaxel:</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Very common: Hypertension including occasional hypertensive emergency, AST increased, ALT increased, bilirubin increased, rash. </a:t>
            </a:r>
            <a:r>
              <a:rPr lang="it-IT" sz="1050" b="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Interactions: </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BCRP inhibitor, OATP 1B1 and 1B3, in the case of concurrent use with corresponding substrates, follow the recommendations in the respective prescribing information. Weak CYP3A4 inducer. Substrate of CYP3A4, P-gp, and BCRP. Use of strong CYP3A4 inducers and P-gp inducers during treatment with NUBEQA should be avoided.</a:t>
            </a:r>
            <a:r>
              <a:rPr lang="it-IT" sz="1050" b="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Dispensing category:</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B. </a:t>
            </a:r>
            <a:r>
              <a:rPr lang="it-IT" sz="1050" b="1">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Authorization holder</a:t>
            </a:r>
            <a:r>
              <a:rPr lang="it-IT"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 Bayer (Schweiz) AG, Uetlibergstrasse 132, 8045 Zurich. For detailed information, please refer to the published medicinal product information at www.swissmedicinfo.ch.</a:t>
            </a:r>
            <a:r>
              <a:rPr lang="de-DE" sz="1050">
                <a:solidFill>
                  <a:schemeClr val="tx1">
                    <a:lumMod val="50000"/>
                    <a:lumOff val="50000"/>
                  </a:schemeClr>
                </a:solidFill>
                <a:latin typeface="Calibri" panose="020F0502020204030204" pitchFamily="34" charset="0"/>
                <a:ea typeface="Calibri" panose="020F0502020204030204" pitchFamily="34" charset="0"/>
                <a:cs typeface="Times New Roman" panose="02020603050405020304" pitchFamily="18" charset="0"/>
              </a:rPr>
              <a:t> </a:t>
            </a:r>
            <a:r>
              <a:rPr lang="fr-CH" sz="105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MA-M_DAR-CH-0198-3 12/23</a:t>
            </a:r>
            <a:endParaRPr lang="de-DE" sz="105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F56D1675-F44D-F19F-183F-1902AFF4F58B}"/>
              </a:ext>
            </a:extLst>
          </p:cNvPr>
          <p:cNvSpPr txBox="1"/>
          <p:nvPr>
            <p:custDataLst>
              <p:tags r:id="rId1"/>
            </p:custDataLst>
          </p:nvPr>
        </p:nvSpPr>
        <p:spPr>
          <a:xfrm>
            <a:off x="234145" y="289226"/>
            <a:ext cx="9702886" cy="461665"/>
          </a:xfrm>
          <a:prstGeom prst="rect">
            <a:avLst/>
          </a:prstGeom>
          <a:noFill/>
        </p:spPr>
        <p:txBody>
          <a:bodyPr wrap="square"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de-DE" sz="2400" b="1" i="0" u="none" strike="noStrike" kern="1200" cap="all" spc="0" normalizeH="0" noProof="0">
                <a:ln>
                  <a:noFill/>
                </a:ln>
                <a:solidFill>
                  <a:srgbClr val="FBFBFB"/>
                </a:solidFill>
                <a:effectLst/>
                <a:uLnTx/>
                <a:uFillTx/>
                <a:latin typeface="Arial" panose="020B0604020202020204" pitchFamily="34" charset="0"/>
                <a:ea typeface="+mn-ea"/>
                <a:cs typeface="Arial" panose="020B0604020202020204" pitchFamily="34" charset="0"/>
              </a:rPr>
              <a:t>Short product information </a:t>
            </a:r>
            <a:r>
              <a:rPr kumimoji="0" lang="de-DE" sz="2400" b="1" i="0" u="none" strike="noStrike" kern="1200" cap="none" spc="0" normalizeH="0" baseline="0" noProof="0">
                <a:ln>
                  <a:noFill/>
                </a:ln>
                <a:solidFill>
                  <a:srgbClr val="FBFBFB"/>
                </a:solidFill>
                <a:effectLst/>
                <a:uLnTx/>
                <a:uFillTx/>
                <a:latin typeface="Arial" panose="020B0604020202020204" pitchFamily="34" charset="0"/>
                <a:ea typeface="+mn-ea"/>
                <a:cs typeface="Arial" panose="020B0604020202020204" pitchFamily="34" charset="0"/>
              </a:rPr>
              <a:t>NUBEQA</a:t>
            </a:r>
            <a:r>
              <a:rPr kumimoji="0" lang="de-DE" sz="2400" b="1" i="0" u="none" strike="noStrike" kern="1200" cap="none" spc="0" normalizeH="0" baseline="30000" noProof="0">
                <a:ln>
                  <a:noFill/>
                </a:ln>
                <a:solidFill>
                  <a:srgbClr val="FBFBFB"/>
                </a:solidFill>
                <a:effectLst/>
                <a:uLnTx/>
                <a:uFillTx/>
                <a:latin typeface="Arial" panose="020B0604020202020204" pitchFamily="34" charset="0"/>
                <a:ea typeface="+mn-ea"/>
                <a:cs typeface="Arial" panose="020B0604020202020204" pitchFamily="34" charset="0"/>
              </a:rPr>
              <a:t>®</a:t>
            </a:r>
            <a:r>
              <a:rPr kumimoji="0" lang="de-DE" sz="2400" b="1" i="0" u="none" strike="noStrike" kern="1200" cap="none" spc="0" normalizeH="0" baseline="0" noProof="0">
                <a:ln>
                  <a:noFill/>
                </a:ln>
                <a:solidFill>
                  <a:srgbClr val="FBFBFB"/>
                </a:solidFill>
                <a:effectLst/>
                <a:uLnTx/>
                <a:uFillTx/>
                <a:latin typeface="Arial" panose="020B0604020202020204" pitchFamily="34" charset="0"/>
                <a:ea typeface="+mn-ea"/>
                <a:cs typeface="Arial" panose="020B0604020202020204" pitchFamily="34" charset="0"/>
              </a:rPr>
              <a:t> </a:t>
            </a:r>
          </a:p>
        </p:txBody>
      </p:sp>
      <p:pic>
        <p:nvPicPr>
          <p:cNvPr id="2" name="Picture 1">
            <a:extLst>
              <a:ext uri="{FF2B5EF4-FFF2-40B4-BE49-F238E27FC236}">
                <a16:creationId xmlns:a16="http://schemas.microsoft.com/office/drawing/2014/main" id="{A3F4938E-87E4-974F-47B7-881270E2E339}"/>
              </a:ext>
            </a:extLst>
          </p:cNvPr>
          <p:cNvPicPr>
            <a:picLocks noChangeAspect="1"/>
          </p:cNvPicPr>
          <p:nvPr/>
        </p:nvPicPr>
        <p:blipFill>
          <a:blip r:embed="rId5"/>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24694633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C4744-9325-4A92-B937-69B8396C5EAE}"/>
              </a:ext>
            </a:extLst>
          </p:cNvPr>
          <p:cNvSpPr>
            <a:spLocks noGrp="1"/>
          </p:cNvSpPr>
          <p:nvPr>
            <p:ph type="title"/>
          </p:nvPr>
        </p:nvSpPr>
        <p:spPr/>
        <p:txBody>
          <a:bodyPr/>
          <a:lstStyle/>
          <a:p>
            <a:r>
              <a:rPr lang="en-US" dirty="0"/>
              <a:t>Disclaimer</a:t>
            </a:r>
          </a:p>
        </p:txBody>
      </p:sp>
      <p:sp>
        <p:nvSpPr>
          <p:cNvPr id="8" name="Textfeld 7">
            <a:extLst>
              <a:ext uri="{FF2B5EF4-FFF2-40B4-BE49-F238E27FC236}">
                <a16:creationId xmlns:a16="http://schemas.microsoft.com/office/drawing/2014/main" id="{4E382482-5EE0-490A-A0B9-A5FC1255CBE8}"/>
              </a:ext>
            </a:extLst>
          </p:cNvPr>
          <p:cNvSpPr txBox="1"/>
          <p:nvPr/>
        </p:nvSpPr>
        <p:spPr bwMode="gray">
          <a:xfrm>
            <a:off x="660912" y="1749406"/>
            <a:ext cx="10181616" cy="4431406"/>
          </a:xfrm>
          <a:prstGeom prst="rect">
            <a:avLst/>
          </a:prstGeom>
          <a:noFill/>
        </p:spPr>
        <p:txBody>
          <a:bodyPr wrap="square" lIns="0" tIns="0" rIns="0" bIns="0" rtlCol="0">
            <a:spAutoFit/>
          </a:bodyPr>
          <a:lstStyle/>
          <a:p>
            <a:pPr marL="285692" indent="-285692" defTabSz="914309">
              <a:buFont typeface="Wingdings" panose="05000000000000000000" pitchFamily="2" charset="2"/>
              <a:buChar char="§"/>
              <a:defRPr/>
            </a:pPr>
            <a:r>
              <a:rPr lang="en-US" dirty="0">
                <a:latin typeface="Arial"/>
                <a:cs typeface="Arial"/>
              </a:rPr>
              <a:t>The following has been developed in response to an unsolicited request for slides for a scientific presentation, is for scientific information purposes only and does not represent promotion of a non-licensed indication</a:t>
            </a:r>
          </a:p>
          <a:p>
            <a:pPr defTabSz="914309">
              <a:defRPr/>
            </a:pPr>
            <a:endParaRPr lang="en-US" i="1" dirty="0">
              <a:latin typeface="Arial"/>
              <a:cs typeface="Arial"/>
            </a:endParaRPr>
          </a:p>
          <a:p>
            <a:pPr marL="285692" indent="-285692" defTabSz="914309">
              <a:buFont typeface="Wingdings" panose="05000000000000000000" pitchFamily="2" charset="2"/>
              <a:buChar char="§"/>
              <a:defRPr/>
            </a:pPr>
            <a:r>
              <a:rPr lang="en-US" i="1" dirty="0">
                <a:latin typeface="Arial"/>
                <a:cs typeface="Arial"/>
              </a:rPr>
              <a:t> </a:t>
            </a:r>
            <a:r>
              <a:rPr lang="en-US" i="1" dirty="0" err="1">
                <a:latin typeface="Arial"/>
                <a:cs typeface="Arial"/>
              </a:rPr>
              <a:t>Darolutamide</a:t>
            </a:r>
            <a:r>
              <a:rPr lang="en-US" i="1" dirty="0">
                <a:latin typeface="Arial"/>
                <a:cs typeface="Arial"/>
              </a:rPr>
              <a:t> is approved in Switzerland in combination with androgen deprivation therapy (ADT), for the treatment of adult patients with non metastatic castration resistant prostate cancer (NMCRPC) who are at high risk of developing metastases (especially PSADT ≤10 months).*</a:t>
            </a:r>
          </a:p>
          <a:p>
            <a:pPr defTabSz="914309">
              <a:defRPr/>
            </a:pPr>
            <a:endParaRPr lang="en-US" i="1" dirty="0">
              <a:latin typeface="Arial"/>
              <a:cs typeface="Arial"/>
            </a:endParaRPr>
          </a:p>
          <a:p>
            <a:pPr marL="285692" indent="-285692" defTabSz="914309">
              <a:buFont typeface="Wingdings" panose="05000000000000000000" pitchFamily="2" charset="2"/>
              <a:buChar char="§"/>
              <a:defRPr/>
            </a:pPr>
            <a:r>
              <a:rPr lang="en-US" i="1" dirty="0" err="1">
                <a:latin typeface="Arial"/>
                <a:cs typeface="Arial"/>
              </a:rPr>
              <a:t>Darolutamide</a:t>
            </a:r>
            <a:r>
              <a:rPr lang="en-US" i="1" dirty="0">
                <a:latin typeface="Arial"/>
                <a:cs typeface="Arial"/>
              </a:rPr>
              <a:t>, in combination with docetaxel and androgen deprivation therapy (ADT), is indicated for the treatment of adult patients with metastatic hormone sensitive prostate cancer ( </a:t>
            </a:r>
            <a:r>
              <a:rPr lang="en-US" i="1" dirty="0" err="1">
                <a:latin typeface="Arial"/>
                <a:cs typeface="Arial"/>
              </a:rPr>
              <a:t>mHSPC</a:t>
            </a:r>
            <a:r>
              <a:rPr lang="en-US" i="1" dirty="0">
                <a:latin typeface="Arial"/>
                <a:cs typeface="Arial"/>
              </a:rPr>
              <a:t> ) for whom docetaxel therapy is indicated.*</a:t>
            </a:r>
          </a:p>
          <a:p>
            <a:pPr marL="285692" indent="-285692" defTabSz="914309">
              <a:buFont typeface="Wingdings" panose="05000000000000000000" pitchFamily="2" charset="2"/>
              <a:buChar char="§"/>
              <a:defRPr/>
            </a:pPr>
            <a:endParaRPr lang="en-US" dirty="0">
              <a:latin typeface="Arial"/>
              <a:cs typeface="Arial"/>
            </a:endParaRPr>
          </a:p>
          <a:p>
            <a:pPr marL="285692" indent="-285692" defTabSz="914309">
              <a:buFont typeface="Wingdings" panose="05000000000000000000" pitchFamily="2" charset="2"/>
              <a:buChar char="§"/>
              <a:defRPr/>
            </a:pPr>
            <a:r>
              <a:rPr lang="en-US" dirty="0">
                <a:latin typeface="Arial"/>
                <a:cs typeface="Arial"/>
              </a:rPr>
              <a:t>This presentation may not be duplicated or distributed</a:t>
            </a:r>
          </a:p>
          <a:p>
            <a:pPr marL="285692" indent="-285692" defTabSz="914309">
              <a:buFont typeface="Wingdings" panose="05000000000000000000" pitchFamily="2" charset="2"/>
              <a:buChar char="§"/>
              <a:defRPr/>
            </a:pPr>
            <a:endParaRPr lang="en-US" dirty="0">
              <a:latin typeface="Arial"/>
              <a:cs typeface="Arial"/>
            </a:endParaRPr>
          </a:p>
          <a:p>
            <a:pPr marL="285692" indent="-285692" defTabSz="914309">
              <a:buFont typeface="Wingdings" panose="05000000000000000000" pitchFamily="2" charset="2"/>
              <a:buChar char="§"/>
              <a:defRPr/>
            </a:pPr>
            <a:r>
              <a:rPr lang="en-US" dirty="0">
                <a:latin typeface="Arial"/>
                <a:cs typeface="Arial"/>
              </a:rPr>
              <a:t>Bayer (Schweiz) AG does not take any responsibility for any misuse of this information</a:t>
            </a:r>
          </a:p>
          <a:p>
            <a:pPr marL="285692" indent="-285692" defTabSz="914309">
              <a:buFont typeface="Wingdings" panose="05000000000000000000" pitchFamily="2" charset="2"/>
              <a:buChar char="§"/>
              <a:defRPr/>
            </a:pPr>
            <a:endParaRPr lang="de-DE" dirty="0">
              <a:latin typeface="Arial"/>
              <a:cs typeface="Arial"/>
            </a:endParaRPr>
          </a:p>
        </p:txBody>
      </p:sp>
      <p:sp>
        <p:nvSpPr>
          <p:cNvPr id="3" name="Textfeld 2">
            <a:extLst>
              <a:ext uri="{FF2B5EF4-FFF2-40B4-BE49-F238E27FC236}">
                <a16:creationId xmlns:a16="http://schemas.microsoft.com/office/drawing/2014/main" id="{10D35E58-DC3F-495F-A80D-BC8997DAA62F}"/>
              </a:ext>
            </a:extLst>
          </p:cNvPr>
          <p:cNvSpPr txBox="1"/>
          <p:nvPr/>
        </p:nvSpPr>
        <p:spPr bwMode="gray">
          <a:xfrm>
            <a:off x="290977" y="6606398"/>
            <a:ext cx="2965169" cy="123095"/>
          </a:xfrm>
          <a:prstGeom prst="rect">
            <a:avLst/>
          </a:prstGeom>
          <a:noFill/>
        </p:spPr>
        <p:txBody>
          <a:bodyPr wrap="none" lIns="0" tIns="0" rIns="0" bIns="0" rtlCol="0">
            <a:spAutoFit/>
          </a:bodyPr>
          <a:lstStyle/>
          <a:p>
            <a:pPr defTabSz="914309">
              <a:defRPr/>
            </a:pPr>
            <a:r>
              <a:rPr lang="de-CH" sz="800" dirty="0">
                <a:solidFill>
                  <a:srgbClr val="FFFFFF">
                    <a:lumMod val="50000"/>
                  </a:srgbClr>
                </a:solidFill>
                <a:latin typeface="Arial"/>
                <a:cs typeface="Arial"/>
              </a:rPr>
              <a:t>* </a:t>
            </a:r>
            <a:r>
              <a:rPr lang="de-CH" sz="800" dirty="0" err="1">
                <a:solidFill>
                  <a:srgbClr val="FFFFFF">
                    <a:lumMod val="50000"/>
                  </a:srgbClr>
                </a:solidFill>
                <a:latin typeface="Arial"/>
                <a:cs typeface="Arial"/>
              </a:rPr>
              <a:t>Respective</a:t>
            </a:r>
            <a:r>
              <a:rPr lang="de-CH" sz="800" dirty="0">
                <a:solidFill>
                  <a:srgbClr val="FFFFFF">
                    <a:lumMod val="50000"/>
                  </a:srgbClr>
                </a:solidFill>
                <a:latin typeface="Arial"/>
                <a:cs typeface="Arial"/>
              </a:rPr>
              <a:t> professional </a:t>
            </a:r>
            <a:r>
              <a:rPr lang="de-CH" sz="800" dirty="0" err="1">
                <a:solidFill>
                  <a:srgbClr val="FFFFFF">
                    <a:lumMod val="50000"/>
                  </a:srgbClr>
                </a:solidFill>
                <a:latin typeface="Arial"/>
                <a:cs typeface="Arial"/>
              </a:rPr>
              <a:t>information</a:t>
            </a:r>
            <a:r>
              <a:rPr lang="de-CH" sz="800" dirty="0">
                <a:solidFill>
                  <a:srgbClr val="FFFFFF">
                    <a:lumMod val="50000"/>
                  </a:srgbClr>
                </a:solidFill>
                <a:latin typeface="Arial"/>
                <a:cs typeface="Arial"/>
              </a:rPr>
              <a:t> on www.swissmedicinfo.ch </a:t>
            </a:r>
          </a:p>
        </p:txBody>
      </p:sp>
      <p:pic>
        <p:nvPicPr>
          <p:cNvPr id="5" name="Picture 4">
            <a:extLst>
              <a:ext uri="{FF2B5EF4-FFF2-40B4-BE49-F238E27FC236}">
                <a16:creationId xmlns:a16="http://schemas.microsoft.com/office/drawing/2014/main" id="{D87D4FFC-87BA-2DBA-891A-354938E0FBB6}"/>
              </a:ext>
            </a:extLst>
          </p:cNvPr>
          <p:cNvPicPr>
            <a:picLocks noChangeAspect="1"/>
          </p:cNvPicPr>
          <p:nvPr/>
        </p:nvPicPr>
        <p:blipFill>
          <a:blip r:embed="rId3"/>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153328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178BB4-45B0-73E0-4BE4-6FFE6E2C886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E4871AF-4F7A-0A5B-D8C3-B595E814868E}"/>
              </a:ext>
            </a:extLst>
          </p:cNvPr>
          <p:cNvSpPr>
            <a:spLocks noGrp="1"/>
          </p:cNvSpPr>
          <p:nvPr>
            <p:ph type="title"/>
          </p:nvPr>
        </p:nvSpPr>
        <p:spPr/>
        <p:txBody>
          <a:bodyPr>
            <a:noAutofit/>
          </a:bodyPr>
          <a:lstStyle/>
          <a:p>
            <a:r>
              <a:rPr lang="en-US" sz="2300" dirty="0"/>
              <a:t>ARASENS: PSA Response and Association with Clinical Outcomes by Volume and Risk subgroups</a:t>
            </a:r>
          </a:p>
        </p:txBody>
      </p:sp>
      <p:pic>
        <p:nvPicPr>
          <p:cNvPr id="13" name="Grafik 12">
            <a:extLst>
              <a:ext uri="{FF2B5EF4-FFF2-40B4-BE49-F238E27FC236}">
                <a16:creationId xmlns:a16="http://schemas.microsoft.com/office/drawing/2014/main" id="{FF59C57B-01F4-4CC2-113E-1D7B677B6471}"/>
              </a:ext>
            </a:extLst>
          </p:cNvPr>
          <p:cNvPicPr>
            <a:picLocks noChangeAspect="1"/>
          </p:cNvPicPr>
          <p:nvPr/>
        </p:nvPicPr>
        <p:blipFill>
          <a:blip r:embed="rId3"/>
          <a:stretch>
            <a:fillRect/>
          </a:stretch>
        </p:blipFill>
        <p:spPr>
          <a:xfrm>
            <a:off x="1150620" y="1444210"/>
            <a:ext cx="10003473" cy="4904670"/>
          </a:xfrm>
          <a:prstGeom prst="rect">
            <a:avLst/>
          </a:prstGeom>
        </p:spPr>
      </p:pic>
      <p:sp>
        <p:nvSpPr>
          <p:cNvPr id="17" name="Textfeld 16">
            <a:extLst>
              <a:ext uri="{FF2B5EF4-FFF2-40B4-BE49-F238E27FC236}">
                <a16:creationId xmlns:a16="http://schemas.microsoft.com/office/drawing/2014/main" id="{745921AF-9187-B560-17A9-6D98511C3E8E}"/>
              </a:ext>
            </a:extLst>
          </p:cNvPr>
          <p:cNvSpPr txBox="1"/>
          <p:nvPr/>
        </p:nvSpPr>
        <p:spPr bwMode="gray">
          <a:xfrm>
            <a:off x="1150620" y="6548034"/>
            <a:ext cx="6096000" cy="254172"/>
          </a:xfrm>
          <a:prstGeom prst="rect">
            <a:avLst/>
          </a:prstGeom>
          <a:noFill/>
        </p:spPr>
        <p:txBody>
          <a:bodyPr wrap="square">
            <a:spAutoFit/>
          </a:bodyPr>
          <a:lstStyle/>
          <a:p>
            <a:pPr marL="0" marR="0" lvl="0" indent="0" algn="l" defTabSz="914309"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Arial Unicode MS"/>
                <a:cs typeface="Arial"/>
              </a:rPr>
              <a:t>3. Saad </a:t>
            </a: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F, et. al  Eur Urol. 2024 Apr 20:S0302-2838(24)02264-4. </a:t>
            </a:r>
            <a:r>
              <a:rPr kumimoji="0" lang="en-US" sz="800" b="0" i="0" u="none" strike="noStrike" kern="1200" cap="none" spc="0" normalizeH="0" baseline="0" noProof="0" dirty="0" err="1">
                <a:ln>
                  <a:noFill/>
                </a:ln>
                <a:solidFill>
                  <a:srgbClr val="000000"/>
                </a:solidFill>
                <a:effectLst/>
                <a:uLnTx/>
                <a:uFillTx/>
                <a:latin typeface="Arial"/>
                <a:ea typeface="Arial Unicode MS"/>
                <a:cs typeface="Arial"/>
              </a:rPr>
              <a:t>doi</a:t>
            </a: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 10.1016/j.eururo.2024.03.036. PMID: 38644146.</a:t>
            </a:r>
          </a:p>
        </p:txBody>
      </p:sp>
      <p:pic>
        <p:nvPicPr>
          <p:cNvPr id="2" name="Picture 1">
            <a:extLst>
              <a:ext uri="{FF2B5EF4-FFF2-40B4-BE49-F238E27FC236}">
                <a16:creationId xmlns:a16="http://schemas.microsoft.com/office/drawing/2014/main" id="{AE2DD5CE-73AC-360F-933F-60640AB7887D}"/>
              </a:ext>
            </a:extLst>
          </p:cNvPr>
          <p:cNvPicPr>
            <a:picLocks noChangeAspect="1"/>
          </p:cNvPicPr>
          <p:nvPr/>
        </p:nvPicPr>
        <p:blipFill>
          <a:blip r:embed="rId4"/>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594250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25A9281-52EC-BF4E-7486-C1D09131C1FA}"/>
              </a:ext>
            </a:extLst>
          </p:cNvPr>
          <p:cNvSpPr>
            <a:spLocks noGrp="1"/>
          </p:cNvSpPr>
          <p:nvPr>
            <p:ph type="ftr" sz="quarter" idx="11"/>
          </p:nvPr>
        </p:nvSpPr>
        <p:spPr>
          <a:xfrm>
            <a:off x="308344" y="6356351"/>
            <a:ext cx="7843995" cy="365125"/>
          </a:xfrm>
        </p:spPr>
        <p:txBody>
          <a:bodyPr/>
          <a:lstStyle/>
          <a:p>
            <a:pPr algn="l" defTabSz="914309">
              <a:defRPr/>
            </a:pPr>
            <a:r>
              <a:rPr lang="en-US" sz="800" b="0" dirty="0">
                <a:solidFill>
                  <a:srgbClr val="000000"/>
                </a:solidFill>
                <a:latin typeface="Arial"/>
                <a:ea typeface="Arial Unicode MS"/>
                <a:cs typeface="Arial"/>
              </a:rPr>
              <a:t>ADT, androgen deprivation therapy; DARO, </a:t>
            </a:r>
            <a:r>
              <a:rPr lang="en-US" sz="800" b="0" dirty="0" err="1">
                <a:solidFill>
                  <a:srgbClr val="000000"/>
                </a:solidFill>
                <a:latin typeface="Arial"/>
                <a:ea typeface="Arial Unicode MS"/>
                <a:cs typeface="Arial"/>
              </a:rPr>
              <a:t>darolutamide</a:t>
            </a:r>
            <a:r>
              <a:rPr lang="en-US" sz="800" b="0" dirty="0">
                <a:solidFill>
                  <a:srgbClr val="000000"/>
                </a:solidFill>
                <a:latin typeface="Arial"/>
                <a:ea typeface="Arial Unicode MS"/>
                <a:cs typeface="Arial"/>
              </a:rPr>
              <a:t>; DOC, docetaxel; PBO, placebo; PSA, prostate-specific antigen; PSA90, ≥90% decline in PSA from baseline.</a:t>
            </a:r>
          </a:p>
          <a:p>
            <a:pPr algn="l" defTabSz="914309">
              <a:lnSpc>
                <a:spcPct val="150000"/>
              </a:lnSpc>
              <a:defRPr/>
            </a:pPr>
            <a:r>
              <a:rPr lang="en-US" sz="800" b="0">
                <a:solidFill>
                  <a:srgbClr val="000000"/>
                </a:solidFill>
                <a:latin typeface="Arial"/>
                <a:ea typeface="Arial Unicode MS"/>
                <a:cs typeface="Arial"/>
              </a:rPr>
              <a:t>3, Saad </a:t>
            </a:r>
            <a:r>
              <a:rPr lang="en-US" sz="800" b="0" dirty="0">
                <a:solidFill>
                  <a:srgbClr val="000000"/>
                </a:solidFill>
                <a:latin typeface="Arial"/>
                <a:ea typeface="Arial Unicode MS"/>
                <a:cs typeface="Arial"/>
              </a:rPr>
              <a:t>F, et. al  Eur Urol. 2024 Apr 20:S0302-2838(24)02264-4. </a:t>
            </a:r>
            <a:r>
              <a:rPr lang="en-US" sz="800" b="0" dirty="0" err="1">
                <a:solidFill>
                  <a:srgbClr val="000000"/>
                </a:solidFill>
                <a:latin typeface="Arial"/>
                <a:ea typeface="Arial Unicode MS"/>
                <a:cs typeface="Arial"/>
              </a:rPr>
              <a:t>doi</a:t>
            </a:r>
            <a:r>
              <a:rPr lang="en-US" sz="800" b="0" dirty="0">
                <a:solidFill>
                  <a:srgbClr val="000000"/>
                </a:solidFill>
                <a:latin typeface="Arial"/>
                <a:ea typeface="Arial Unicode MS"/>
                <a:cs typeface="Arial"/>
              </a:rPr>
              <a:t>: 10.1016/j.eururo.2024.03.036. PMID: 38644146.</a:t>
            </a:r>
          </a:p>
          <a:p>
            <a:pPr algn="l" defTabSz="914309">
              <a:defRPr/>
            </a:pPr>
            <a:endParaRPr lang="en-US" sz="800" b="0" dirty="0">
              <a:solidFill>
                <a:srgbClr val="000000"/>
              </a:solidFill>
              <a:latin typeface="Arial"/>
              <a:ea typeface="Arial Unicode MS"/>
              <a:cs typeface="Arial"/>
            </a:endParaRPr>
          </a:p>
        </p:txBody>
      </p:sp>
      <p:sp>
        <p:nvSpPr>
          <p:cNvPr id="9" name="Title 2">
            <a:extLst>
              <a:ext uri="{FF2B5EF4-FFF2-40B4-BE49-F238E27FC236}">
                <a16:creationId xmlns:a16="http://schemas.microsoft.com/office/drawing/2014/main" id="{5CA62B83-C6CE-B97C-20E2-21D656C40096}"/>
              </a:ext>
            </a:extLst>
          </p:cNvPr>
          <p:cNvSpPr>
            <a:spLocks noGrp="1"/>
          </p:cNvSpPr>
          <p:nvPr>
            <p:ph type="title"/>
          </p:nvPr>
        </p:nvSpPr>
        <p:spPr/>
        <p:txBody>
          <a:bodyPr>
            <a:noAutofit/>
          </a:bodyPr>
          <a:lstStyle/>
          <a:p>
            <a:r>
              <a:rPr lang="en-US" sz="2300" dirty="0"/>
              <a:t>ARASENS: PSA Response and Association with Clinical Outcomes by Volume and </a:t>
            </a:r>
            <a:r>
              <a:rPr lang="en-US" sz="2300"/>
              <a:t>Risk subgroups</a:t>
            </a:r>
            <a:endParaRPr lang="en-US" sz="2300" dirty="0"/>
          </a:p>
        </p:txBody>
      </p:sp>
      <p:pic>
        <p:nvPicPr>
          <p:cNvPr id="16" name="Grafik 15">
            <a:extLst>
              <a:ext uri="{FF2B5EF4-FFF2-40B4-BE49-F238E27FC236}">
                <a16:creationId xmlns:a16="http://schemas.microsoft.com/office/drawing/2014/main" id="{C417AC4A-ABEF-6091-69C3-60ABB8FBB87A}"/>
              </a:ext>
            </a:extLst>
          </p:cNvPr>
          <p:cNvPicPr>
            <a:picLocks noChangeAspect="1"/>
          </p:cNvPicPr>
          <p:nvPr/>
        </p:nvPicPr>
        <p:blipFill>
          <a:blip r:embed="rId3"/>
          <a:stretch>
            <a:fillRect/>
          </a:stretch>
        </p:blipFill>
        <p:spPr>
          <a:xfrm>
            <a:off x="151091" y="1880079"/>
            <a:ext cx="11888230" cy="3817951"/>
          </a:xfrm>
          <a:prstGeom prst="rect">
            <a:avLst/>
          </a:prstGeom>
        </p:spPr>
      </p:pic>
      <p:pic>
        <p:nvPicPr>
          <p:cNvPr id="2" name="Picture 1">
            <a:extLst>
              <a:ext uri="{FF2B5EF4-FFF2-40B4-BE49-F238E27FC236}">
                <a16:creationId xmlns:a16="http://schemas.microsoft.com/office/drawing/2014/main" id="{ED2056FF-37C5-DC41-2858-164BA1ACCE48}"/>
              </a:ext>
            </a:extLst>
          </p:cNvPr>
          <p:cNvPicPr>
            <a:picLocks noChangeAspect="1"/>
          </p:cNvPicPr>
          <p:nvPr/>
        </p:nvPicPr>
        <p:blipFill>
          <a:blip r:embed="rId4"/>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7888658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C5F19D-5D23-4DD7-BFB4-BCEC39A8E07F}"/>
              </a:ext>
            </a:extLst>
          </p:cNvPr>
          <p:cNvSpPr>
            <a:spLocks noGrp="1"/>
          </p:cNvSpPr>
          <p:nvPr>
            <p:ph type="title"/>
          </p:nvPr>
        </p:nvSpPr>
        <p:spPr>
          <a:xfrm>
            <a:off x="495236" y="125128"/>
            <a:ext cx="9276086" cy="890872"/>
          </a:xfrm>
        </p:spPr>
        <p:txBody>
          <a:bodyPr anchor="ctr">
            <a:normAutofit/>
          </a:bodyPr>
          <a:lstStyle/>
          <a:p>
            <a:r>
              <a:rPr lang="en-US" sz="2300" dirty="0"/>
              <a:t>ARASENS: PSA Response in Patients With </a:t>
            </a:r>
            <a:r>
              <a:rPr lang="en-US" sz="2300" dirty="0" err="1"/>
              <a:t>mHSPC</a:t>
            </a:r>
            <a:r>
              <a:rPr lang="en-US" sz="2300" dirty="0"/>
              <a:t> </a:t>
            </a:r>
            <a:r>
              <a:rPr lang="en-US" sz="2300"/>
              <a:t>– Overall </a:t>
            </a:r>
            <a:r>
              <a:rPr lang="en-US" sz="2300" dirty="0"/>
              <a:t>Population</a:t>
            </a:r>
          </a:p>
        </p:txBody>
      </p:sp>
      <p:sp>
        <p:nvSpPr>
          <p:cNvPr id="32" name="Footer Placeholder 4">
            <a:extLst>
              <a:ext uri="{FF2B5EF4-FFF2-40B4-BE49-F238E27FC236}">
                <a16:creationId xmlns:a16="http://schemas.microsoft.com/office/drawing/2014/main" id="{EC59BF30-F868-4B48-B3E6-998118330E8F}"/>
              </a:ext>
            </a:extLst>
          </p:cNvPr>
          <p:cNvSpPr txBox="1">
            <a:spLocks/>
          </p:cNvSpPr>
          <p:nvPr/>
        </p:nvSpPr>
        <p:spPr>
          <a:xfrm>
            <a:off x="340242" y="6233398"/>
            <a:ext cx="11500463" cy="66770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09">
              <a:defRPr/>
            </a:pPr>
            <a:r>
              <a:rPr lang="en-US" sz="800" baseline="30000" dirty="0">
                <a:solidFill>
                  <a:schemeClr val="bg1">
                    <a:lumMod val="50000"/>
                  </a:schemeClr>
                </a:solidFill>
                <a:cs typeface="Arial"/>
              </a:rPr>
              <a:t>a</a:t>
            </a:r>
            <a:r>
              <a:rPr lang="en-US" sz="800" dirty="0">
                <a:solidFill>
                  <a:schemeClr val="bg1">
                    <a:lumMod val="50000"/>
                  </a:schemeClr>
                </a:solidFill>
                <a:cs typeface="Arial"/>
              </a:rPr>
              <a:t>Post hoc landmark analyses using Kaplan-Meier estimates.</a:t>
            </a:r>
            <a:r>
              <a:rPr lang="en-US" sz="600" baseline="30000" dirty="0">
                <a:solidFill>
                  <a:srgbClr val="000000">
                    <a:lumMod val="50000"/>
                    <a:lumOff val="50000"/>
                  </a:srgbClr>
                </a:solidFill>
                <a:cs typeface="Arial"/>
              </a:rPr>
              <a:t> </a:t>
            </a:r>
            <a:r>
              <a:rPr lang="en-US" sz="800" dirty="0">
                <a:solidFill>
                  <a:schemeClr val="bg1">
                    <a:lumMod val="50000"/>
                  </a:schemeClr>
                </a:solidFill>
                <a:cs typeface="Arial"/>
              </a:rPr>
              <a:t>Undetectable PSA was defined as PSA &lt;0.2 ng/</a:t>
            </a:r>
            <a:r>
              <a:rPr lang="en-US" sz="800" dirty="0" err="1">
                <a:solidFill>
                  <a:schemeClr val="bg1">
                    <a:lumMod val="50000"/>
                  </a:schemeClr>
                </a:solidFill>
                <a:cs typeface="Arial"/>
              </a:rPr>
              <a:t>mL.</a:t>
            </a:r>
            <a:endParaRPr lang="en-US" sz="800" dirty="0">
              <a:solidFill>
                <a:schemeClr val="bg1">
                  <a:lumMod val="50000"/>
                </a:schemeClr>
              </a:solidFill>
              <a:cs typeface="Arial"/>
            </a:endParaRPr>
          </a:p>
          <a:p>
            <a:pPr defTabSz="914309">
              <a:defRPr/>
            </a:pPr>
            <a:r>
              <a:rPr lang="en-US" sz="800" dirty="0">
                <a:solidFill>
                  <a:schemeClr val="bg1">
                    <a:lumMod val="50000"/>
                  </a:schemeClr>
                </a:solidFill>
                <a:cs typeface="Arial"/>
              </a:rPr>
              <a:t>ADT, androgen deprivation therapy; ALP, alkaline phosphatase; </a:t>
            </a:r>
            <a:r>
              <a:rPr lang="en-US" sz="800" dirty="0" err="1">
                <a:solidFill>
                  <a:schemeClr val="bg1">
                    <a:lumMod val="50000"/>
                  </a:schemeClr>
                </a:solidFill>
                <a:cs typeface="Arial"/>
              </a:rPr>
              <a:t>mHSPC</a:t>
            </a:r>
            <a:r>
              <a:rPr lang="en-US" sz="800" dirty="0">
                <a:solidFill>
                  <a:schemeClr val="bg1">
                    <a:lumMod val="50000"/>
                  </a:schemeClr>
                </a:solidFill>
                <a:cs typeface="Arial"/>
              </a:rPr>
              <a:t>, metastatic hormone-sensitive prostate cancer; PSA, prostate-specific antigen.</a:t>
            </a:r>
          </a:p>
          <a:p>
            <a:pPr defTabSz="914309">
              <a:defRPr/>
            </a:pPr>
            <a:endParaRPr lang="en-US" sz="800" dirty="0">
              <a:solidFill>
                <a:schemeClr val="bg1">
                  <a:lumMod val="50000"/>
                </a:schemeClr>
              </a:solidFill>
              <a:cs typeface="Arial"/>
            </a:endParaRPr>
          </a:p>
          <a:p>
            <a:pPr defTabSz="914309">
              <a:defRPr/>
            </a:pPr>
            <a:r>
              <a:rPr lang="en-US" sz="800" dirty="0">
                <a:solidFill>
                  <a:srgbClr val="000000">
                    <a:lumMod val="50000"/>
                    <a:lumOff val="50000"/>
                  </a:srgbClr>
                </a:solidFill>
                <a:cs typeface="Arial"/>
              </a:rPr>
              <a:t>2</a:t>
            </a:r>
            <a:r>
              <a:rPr lang="en-US" sz="800">
                <a:solidFill>
                  <a:srgbClr val="000000">
                    <a:lumMod val="50000"/>
                    <a:lumOff val="50000"/>
                  </a:srgbClr>
                </a:solidFill>
                <a:cs typeface="Arial"/>
              </a:rPr>
              <a:t>. </a:t>
            </a:r>
            <a:r>
              <a:rPr lang="en-US" sz="800" dirty="0">
                <a:solidFill>
                  <a:srgbClr val="000000">
                    <a:lumMod val="50000"/>
                    <a:lumOff val="50000"/>
                  </a:srgbClr>
                </a:solidFill>
                <a:cs typeface="Arial"/>
              </a:rPr>
              <a:t>Saad F, et al. Presented at American Society of Clinical Oncology; June 3-7, 2022; Chicago, IL, USA. Abstract 5078</a:t>
            </a:r>
            <a:r>
              <a:rPr lang="en-US" sz="800">
                <a:solidFill>
                  <a:srgbClr val="000000">
                    <a:lumMod val="50000"/>
                    <a:lumOff val="50000"/>
                  </a:srgbClr>
                </a:solidFill>
                <a:cs typeface="Arial"/>
              </a:rPr>
              <a:t>. 3. </a:t>
            </a:r>
            <a:r>
              <a:rPr lang="en-US" sz="800" dirty="0">
                <a:solidFill>
                  <a:srgbClr val="000000">
                    <a:lumMod val="50000"/>
                    <a:lumOff val="50000"/>
                  </a:srgbClr>
                </a:solidFill>
                <a:cs typeface="Arial"/>
              </a:rPr>
              <a:t>Saad et. al. Eur Urol. 2024 Apr 20:S0302-2838(24)02264-4. </a:t>
            </a:r>
            <a:r>
              <a:rPr lang="en-US" sz="800" dirty="0" err="1">
                <a:solidFill>
                  <a:srgbClr val="000000">
                    <a:lumMod val="50000"/>
                    <a:lumOff val="50000"/>
                  </a:srgbClr>
                </a:solidFill>
                <a:cs typeface="Arial"/>
              </a:rPr>
              <a:t>doi</a:t>
            </a:r>
            <a:r>
              <a:rPr lang="en-US" sz="800" dirty="0">
                <a:solidFill>
                  <a:srgbClr val="000000">
                    <a:lumMod val="50000"/>
                    <a:lumOff val="50000"/>
                  </a:srgbClr>
                </a:solidFill>
                <a:cs typeface="Arial"/>
              </a:rPr>
              <a:t>: 10.1016/j.eururo.2024.03.036.</a:t>
            </a:r>
          </a:p>
        </p:txBody>
      </p:sp>
      <p:graphicFrame>
        <p:nvGraphicFramePr>
          <p:cNvPr id="5" name="Chart 11">
            <a:extLst>
              <a:ext uri="{FF2B5EF4-FFF2-40B4-BE49-F238E27FC236}">
                <a16:creationId xmlns:a16="http://schemas.microsoft.com/office/drawing/2014/main" id="{33E909BA-4F33-603A-D31E-27C2B79D97BB}"/>
              </a:ext>
            </a:extLst>
          </p:cNvPr>
          <p:cNvGraphicFramePr/>
          <p:nvPr>
            <p:extLst>
              <p:ext uri="{D42A27DB-BD31-4B8C-83A1-F6EECF244321}">
                <p14:modId xmlns:p14="http://schemas.microsoft.com/office/powerpoint/2010/main" val="3449260695"/>
              </p:ext>
            </p:extLst>
          </p:nvPr>
        </p:nvGraphicFramePr>
        <p:xfrm>
          <a:off x="457200" y="1420178"/>
          <a:ext cx="5832443" cy="3667758"/>
        </p:xfrm>
        <a:graphic>
          <a:graphicData uri="http://schemas.openxmlformats.org/drawingml/2006/chart">
            <c:chart xmlns:c="http://schemas.openxmlformats.org/drawingml/2006/chart" xmlns:r="http://schemas.openxmlformats.org/officeDocument/2006/relationships" r:id="rId6"/>
          </a:graphicData>
        </a:graphic>
      </p:graphicFrame>
      <p:sp>
        <p:nvSpPr>
          <p:cNvPr id="6" name="Rectangle 14">
            <a:extLst>
              <a:ext uri="{FF2B5EF4-FFF2-40B4-BE49-F238E27FC236}">
                <a16:creationId xmlns:a16="http://schemas.microsoft.com/office/drawing/2014/main" id="{EC5C4C6D-7B5D-D53C-DC14-2F81AEAAECAB}"/>
              </a:ext>
            </a:extLst>
          </p:cNvPr>
          <p:cNvSpPr/>
          <p:nvPr>
            <p:custDataLst>
              <p:tags r:id="rId1"/>
            </p:custDataLst>
          </p:nvPr>
        </p:nvSpPr>
        <p:spPr bwMode="gray">
          <a:xfrm>
            <a:off x="6603010" y="5339926"/>
            <a:ext cx="5048250" cy="8808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285750" indent="-285750">
              <a:buFont typeface="Wingdings" panose="05000000000000000000" pitchFamily="2" charset="2"/>
              <a:buChar char="q"/>
            </a:pPr>
            <a:r>
              <a:rPr lang="en-US" sz="1400" dirty="0">
                <a:solidFill>
                  <a:schemeClr val="bg1"/>
                </a:solidFill>
                <a:latin typeface="Arial" panose="020B0604020202020204" pitchFamily="34" charset="0"/>
              </a:rPr>
              <a:t>Undetectable PSA at 36 weeks was associated with improved overall for patients treated with </a:t>
            </a:r>
            <a:r>
              <a:rPr lang="en-US" sz="1400" dirty="0" err="1">
                <a:solidFill>
                  <a:schemeClr val="bg1"/>
                </a:solidFill>
                <a:latin typeface="Arial" panose="020B0604020202020204" pitchFamily="34" charset="0"/>
              </a:rPr>
              <a:t>darolutamide</a:t>
            </a:r>
            <a:r>
              <a:rPr lang="en-US" sz="1400" dirty="0">
                <a:solidFill>
                  <a:schemeClr val="bg1"/>
                </a:solidFill>
                <a:latin typeface="Arial" panose="020B0604020202020204" pitchFamily="34" charset="0"/>
              </a:rPr>
              <a:t> + ADT with docetaxel </a:t>
            </a:r>
          </a:p>
        </p:txBody>
      </p:sp>
      <p:sp>
        <p:nvSpPr>
          <p:cNvPr id="7" name="Rectangle 10">
            <a:extLst>
              <a:ext uri="{FF2B5EF4-FFF2-40B4-BE49-F238E27FC236}">
                <a16:creationId xmlns:a16="http://schemas.microsoft.com/office/drawing/2014/main" id="{FAE143BC-3E53-A56E-42A1-F49A7E196A92}"/>
              </a:ext>
            </a:extLst>
          </p:cNvPr>
          <p:cNvSpPr/>
          <p:nvPr>
            <p:custDataLst>
              <p:tags r:id="rId2"/>
            </p:custDataLst>
          </p:nvPr>
        </p:nvSpPr>
        <p:spPr bwMode="gray">
          <a:xfrm>
            <a:off x="540740" y="5339926"/>
            <a:ext cx="5048250" cy="8808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285750" indent="-285750">
              <a:spcAft>
                <a:spcPts val="600"/>
              </a:spcAft>
              <a:buFont typeface="Wingdings" panose="05000000000000000000" pitchFamily="2" charset="2"/>
              <a:buChar char="q"/>
            </a:pPr>
            <a:r>
              <a:rPr lang="en-US" sz="1400" dirty="0">
                <a:solidFill>
                  <a:schemeClr val="bg1"/>
                </a:solidFill>
                <a:latin typeface="Arial" panose="020B0604020202020204" pitchFamily="34" charset="0"/>
              </a:rPr>
              <a:t>More than twice the number of patients in the </a:t>
            </a:r>
            <a:r>
              <a:rPr lang="en-US" sz="1400" dirty="0" err="1">
                <a:solidFill>
                  <a:schemeClr val="bg1"/>
                </a:solidFill>
                <a:latin typeface="Arial" panose="020B0604020202020204" pitchFamily="34" charset="0"/>
              </a:rPr>
              <a:t>darolutamide</a:t>
            </a:r>
            <a:r>
              <a:rPr lang="en-US" sz="1400" dirty="0">
                <a:solidFill>
                  <a:schemeClr val="bg1"/>
                </a:solidFill>
                <a:latin typeface="Arial" panose="020B0604020202020204" pitchFamily="34" charset="0"/>
              </a:rPr>
              <a:t> arm achieved undetectable PSA at any time after baseline compared to placebo</a:t>
            </a:r>
          </a:p>
        </p:txBody>
      </p:sp>
      <p:sp>
        <p:nvSpPr>
          <p:cNvPr id="10" name="Rectangle 19">
            <a:extLst>
              <a:ext uri="{FF2B5EF4-FFF2-40B4-BE49-F238E27FC236}">
                <a16:creationId xmlns:a16="http://schemas.microsoft.com/office/drawing/2014/main" id="{B5718CF9-E587-9470-CE0D-6B2B7A0B68B0}"/>
              </a:ext>
            </a:extLst>
          </p:cNvPr>
          <p:cNvSpPr/>
          <p:nvPr>
            <p:custDataLst>
              <p:tags r:id="rId3"/>
            </p:custDataLst>
          </p:nvPr>
        </p:nvSpPr>
        <p:spPr bwMode="gray">
          <a:xfrm>
            <a:off x="6824260" y="1267292"/>
            <a:ext cx="4587697" cy="48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Overall Survival: </a:t>
            </a:r>
          </a:p>
          <a:p>
            <a:pPr algn="ctr"/>
            <a:r>
              <a:rPr lang="en-US" sz="1400" b="1" dirty="0">
                <a:solidFill>
                  <a:schemeClr val="tx1"/>
                </a:solidFill>
              </a:rPr>
              <a:t>Undetectable vs Detectable PSA at 36 Weeks </a:t>
            </a:r>
          </a:p>
          <a:p>
            <a:pPr algn="ctr"/>
            <a:r>
              <a:rPr lang="en-US" sz="1400" dirty="0">
                <a:solidFill>
                  <a:schemeClr val="tx1"/>
                </a:solidFill>
              </a:rPr>
              <a:t>(</a:t>
            </a:r>
            <a:r>
              <a:rPr lang="en-US" sz="1400" dirty="0" err="1">
                <a:solidFill>
                  <a:schemeClr val="tx1"/>
                </a:solidFill>
              </a:rPr>
              <a:t>darolutamide</a:t>
            </a:r>
            <a:r>
              <a:rPr lang="en-US" sz="1400" dirty="0">
                <a:solidFill>
                  <a:schemeClr val="tx1"/>
                </a:solidFill>
              </a:rPr>
              <a:t> + ADT with docetaxel group)</a:t>
            </a:r>
          </a:p>
        </p:txBody>
      </p:sp>
      <p:pic>
        <p:nvPicPr>
          <p:cNvPr id="139" name="Grafik 138">
            <a:extLst>
              <a:ext uri="{FF2B5EF4-FFF2-40B4-BE49-F238E27FC236}">
                <a16:creationId xmlns:a16="http://schemas.microsoft.com/office/drawing/2014/main" id="{585634DE-3319-08C1-6E38-EF51E15A4A14}"/>
              </a:ext>
            </a:extLst>
          </p:cNvPr>
          <p:cNvPicPr>
            <a:picLocks noChangeAspect="1"/>
          </p:cNvPicPr>
          <p:nvPr/>
        </p:nvPicPr>
        <p:blipFill>
          <a:blip r:embed="rId7"/>
          <a:stretch>
            <a:fillRect/>
          </a:stretch>
        </p:blipFill>
        <p:spPr>
          <a:xfrm>
            <a:off x="6216250" y="1883045"/>
            <a:ext cx="5799792" cy="3394890"/>
          </a:xfrm>
          <a:prstGeom prst="rect">
            <a:avLst/>
          </a:prstGeom>
        </p:spPr>
      </p:pic>
      <p:pic>
        <p:nvPicPr>
          <p:cNvPr id="2" name="Picture 1">
            <a:extLst>
              <a:ext uri="{FF2B5EF4-FFF2-40B4-BE49-F238E27FC236}">
                <a16:creationId xmlns:a16="http://schemas.microsoft.com/office/drawing/2014/main" id="{971DFFBB-13B9-E1C8-D859-93B3722A5B4B}"/>
              </a:ext>
            </a:extLst>
          </p:cNvPr>
          <p:cNvPicPr>
            <a:picLocks noChangeAspect="1"/>
          </p:cNvPicPr>
          <p:nvPr/>
        </p:nvPicPr>
        <p:blipFill>
          <a:blip r:embed="rId8"/>
          <a:stretch>
            <a:fillRect/>
          </a:stretch>
        </p:blipFill>
        <p:spPr>
          <a:xfrm>
            <a:off x="11139043" y="6233398"/>
            <a:ext cx="876999" cy="521759"/>
          </a:xfrm>
          <a:prstGeom prst="rect">
            <a:avLst/>
          </a:prstGeom>
        </p:spPr>
      </p:pic>
    </p:spTree>
    <p:extLst>
      <p:ext uri="{BB962C8B-B14F-4D97-AF65-F5344CB8AC3E}">
        <p14:creationId xmlns:p14="http://schemas.microsoft.com/office/powerpoint/2010/main" val="191556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196B41-27E8-63C2-439D-CB31D09D36BB}"/>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5FB1B7C2-8FBD-CAE6-DC7C-BCC9A7205D97}"/>
              </a:ext>
            </a:extLst>
          </p:cNvPr>
          <p:cNvSpPr>
            <a:spLocks noGrp="1"/>
          </p:cNvSpPr>
          <p:nvPr>
            <p:ph type="ftr" sz="quarter" idx="11"/>
          </p:nvPr>
        </p:nvSpPr>
        <p:spPr>
          <a:xfrm>
            <a:off x="228943" y="6349058"/>
            <a:ext cx="6184906" cy="365125"/>
          </a:xfrm>
        </p:spPr>
        <p:txBody>
          <a:bodyPr/>
          <a:lstStyle/>
          <a:p>
            <a:pPr algn="l" defTabSz="914309">
              <a:defRPr/>
            </a:pPr>
            <a:r>
              <a:rPr lang="en-US" sz="800" b="0" dirty="0">
                <a:solidFill>
                  <a:schemeClr val="accent5"/>
                </a:solidFill>
                <a:latin typeface="Arial"/>
                <a:ea typeface="Arial Unicode MS"/>
                <a:cs typeface="Arial"/>
              </a:rPr>
              <a:t>ADT, androgen deprivation therapy; DARO, </a:t>
            </a:r>
            <a:r>
              <a:rPr lang="en-US" sz="800" b="0" dirty="0" err="1">
                <a:solidFill>
                  <a:schemeClr val="accent5"/>
                </a:solidFill>
                <a:latin typeface="Arial"/>
                <a:ea typeface="Arial Unicode MS"/>
                <a:cs typeface="Arial"/>
              </a:rPr>
              <a:t>darolutamide</a:t>
            </a:r>
            <a:r>
              <a:rPr lang="en-US" sz="800" b="0" dirty="0">
                <a:solidFill>
                  <a:schemeClr val="accent5"/>
                </a:solidFill>
                <a:latin typeface="Arial"/>
                <a:ea typeface="Arial Unicode MS"/>
                <a:cs typeface="Arial"/>
              </a:rPr>
              <a:t>; DOC, docetaxel; PBO, placebo; PSA, prostate-specific antigen; PSA90, ≥90% decline in PSA from baseline.</a:t>
            </a:r>
          </a:p>
          <a:p>
            <a:pPr algn="l" defTabSz="914309">
              <a:lnSpc>
                <a:spcPct val="150000"/>
              </a:lnSpc>
              <a:defRPr/>
            </a:pPr>
            <a:r>
              <a:rPr lang="en-US" sz="800" b="0" dirty="0">
                <a:solidFill>
                  <a:schemeClr val="accent5"/>
                </a:solidFill>
                <a:latin typeface="Arial"/>
                <a:ea typeface="Arial Unicode MS"/>
                <a:cs typeface="Arial"/>
              </a:rPr>
              <a:t>1. Saad et al. ESMO 2023, Abstract 1784P</a:t>
            </a:r>
            <a:r>
              <a:rPr lang="en-US" sz="800" b="0">
                <a:solidFill>
                  <a:schemeClr val="accent5"/>
                </a:solidFill>
                <a:latin typeface="Arial"/>
                <a:ea typeface="Arial Unicode MS"/>
                <a:cs typeface="Arial"/>
              </a:rPr>
              <a:t>. 3.</a:t>
            </a:r>
            <a:r>
              <a:rPr lang="en-US" sz="800" b="0" dirty="0">
                <a:solidFill>
                  <a:schemeClr val="accent5"/>
                </a:solidFill>
                <a:latin typeface="Arial"/>
                <a:ea typeface="Arial Unicode MS"/>
                <a:cs typeface="Arial"/>
              </a:rPr>
              <a:t>Saad F, et. al  Eur Urol. 2024 Apr 20:S0302-2838(24)02264-4. </a:t>
            </a:r>
            <a:r>
              <a:rPr lang="en-US" sz="800" b="0" dirty="0" err="1">
                <a:solidFill>
                  <a:schemeClr val="accent5"/>
                </a:solidFill>
                <a:latin typeface="Arial"/>
                <a:ea typeface="Arial Unicode MS"/>
                <a:cs typeface="Arial"/>
              </a:rPr>
              <a:t>doi</a:t>
            </a:r>
            <a:r>
              <a:rPr lang="en-US" sz="800" b="0" dirty="0">
                <a:solidFill>
                  <a:schemeClr val="accent5"/>
                </a:solidFill>
                <a:latin typeface="Arial"/>
                <a:ea typeface="Arial Unicode MS"/>
                <a:cs typeface="Arial"/>
              </a:rPr>
              <a:t>: 10.1016/j.eururo.2024.03.036. PMID: 38644146.</a:t>
            </a:r>
          </a:p>
          <a:p>
            <a:pPr algn="l" defTabSz="914309">
              <a:defRPr/>
            </a:pPr>
            <a:endParaRPr lang="en-US" sz="800" b="0" dirty="0">
              <a:solidFill>
                <a:schemeClr val="accent5"/>
              </a:solidFill>
              <a:latin typeface="Arial"/>
              <a:ea typeface="Arial Unicode MS"/>
              <a:cs typeface="Arial"/>
            </a:endParaRPr>
          </a:p>
        </p:txBody>
      </p:sp>
      <p:sp>
        <p:nvSpPr>
          <p:cNvPr id="9" name="Title 2">
            <a:extLst>
              <a:ext uri="{FF2B5EF4-FFF2-40B4-BE49-F238E27FC236}">
                <a16:creationId xmlns:a16="http://schemas.microsoft.com/office/drawing/2014/main" id="{08A8188A-4F80-9E95-5E53-38906BD88642}"/>
              </a:ext>
            </a:extLst>
          </p:cNvPr>
          <p:cNvSpPr>
            <a:spLocks noGrp="1"/>
          </p:cNvSpPr>
          <p:nvPr>
            <p:ph type="title"/>
          </p:nvPr>
        </p:nvSpPr>
        <p:spPr/>
        <p:txBody>
          <a:bodyPr>
            <a:noAutofit/>
          </a:bodyPr>
          <a:lstStyle/>
          <a:p>
            <a:r>
              <a:rPr lang="en-US" sz="2300" dirty="0"/>
              <a:t>ARASENS: PSA Response and Association with Clinical Outcomes by Volume and </a:t>
            </a:r>
            <a:r>
              <a:rPr lang="en-US" sz="2300"/>
              <a:t>Risk subgroups</a:t>
            </a:r>
            <a:endParaRPr lang="en-US" sz="2300" dirty="0"/>
          </a:p>
        </p:txBody>
      </p:sp>
      <p:sp>
        <p:nvSpPr>
          <p:cNvPr id="2" name="Text Placeholder 1">
            <a:extLst>
              <a:ext uri="{FF2B5EF4-FFF2-40B4-BE49-F238E27FC236}">
                <a16:creationId xmlns:a16="http://schemas.microsoft.com/office/drawing/2014/main" id="{E373CB3F-9B45-F4CE-ACA2-DC4D655A6829}"/>
              </a:ext>
            </a:extLst>
          </p:cNvPr>
          <p:cNvSpPr>
            <a:spLocks noGrp="1"/>
          </p:cNvSpPr>
          <p:nvPr>
            <p:ph type="body" sz="quarter" idx="4294967295"/>
          </p:nvPr>
        </p:nvSpPr>
        <p:spPr>
          <a:xfrm>
            <a:off x="0" y="1295400"/>
            <a:ext cx="6283842" cy="4991100"/>
          </a:xfrm>
        </p:spPr>
        <p:txBody>
          <a:bodyPr/>
          <a:lstStyle/>
          <a:p>
            <a:pPr marL="0" lvl="1" indent="0">
              <a:buNone/>
            </a:pPr>
            <a:endParaRPr lang="en-US" sz="1400" b="1" dirty="0">
              <a:solidFill>
                <a:schemeClr val="tx1"/>
              </a:solidFill>
              <a:latin typeface="Arial" panose="020B0604020202020204" pitchFamily="34" charset="0"/>
            </a:endParaRPr>
          </a:p>
          <a:p>
            <a:pPr lvl="2"/>
            <a:r>
              <a:rPr lang="en-US" sz="1400" b="1" u="sng" dirty="0">
                <a:solidFill>
                  <a:schemeClr val="tx1"/>
                </a:solidFill>
                <a:latin typeface="Arial" panose="020B0604020202020204" pitchFamily="34" charset="0"/>
              </a:rPr>
              <a:t>Undetectable Rates:</a:t>
            </a:r>
            <a:endParaRPr lang="en-US" sz="1400" dirty="0">
              <a:solidFill>
                <a:schemeClr val="tx1"/>
              </a:solidFill>
              <a:latin typeface="Arial" panose="020B0604020202020204" pitchFamily="34" charset="0"/>
            </a:endParaRPr>
          </a:p>
          <a:p>
            <a:pPr lvl="3"/>
            <a:r>
              <a:rPr lang="en-US" sz="1400" dirty="0">
                <a:solidFill>
                  <a:schemeClr val="tx1"/>
                </a:solidFill>
                <a:latin typeface="Arial" panose="020B0604020202020204" pitchFamily="34" charset="0"/>
              </a:rPr>
              <a:t>83.4% of patients with low‑volume disease achieved undetectable PSA at any time with </a:t>
            </a:r>
            <a:r>
              <a:rPr lang="en-US" sz="1400" dirty="0" err="1">
                <a:solidFill>
                  <a:schemeClr val="tx1"/>
                </a:solidFill>
                <a:latin typeface="Arial" panose="020B0604020202020204" pitchFamily="34" charset="0"/>
              </a:rPr>
              <a:t>darolutamide</a:t>
            </a:r>
            <a:r>
              <a:rPr lang="en-US" sz="1400" dirty="0">
                <a:solidFill>
                  <a:schemeClr val="tx1"/>
                </a:solidFill>
                <a:latin typeface="Arial" panose="020B0604020202020204" pitchFamily="34" charset="0"/>
              </a:rPr>
              <a:t> + ADT + docetaxel</a:t>
            </a:r>
          </a:p>
          <a:p>
            <a:pPr lvl="3"/>
            <a:r>
              <a:rPr lang="en-US" sz="1400" dirty="0">
                <a:solidFill>
                  <a:schemeClr val="tx1"/>
                </a:solidFill>
                <a:latin typeface="Arial" panose="020B0604020202020204" pitchFamily="34" charset="0"/>
              </a:rPr>
              <a:t>62.2% of patients with high‑volume disease achieved undetectable PSA at any time with </a:t>
            </a:r>
            <a:r>
              <a:rPr lang="en-US" sz="1400" dirty="0" err="1">
                <a:solidFill>
                  <a:schemeClr val="tx1"/>
                </a:solidFill>
                <a:latin typeface="Arial" panose="020B0604020202020204" pitchFamily="34" charset="0"/>
              </a:rPr>
              <a:t>darolutamide</a:t>
            </a:r>
            <a:r>
              <a:rPr lang="en-US" sz="1400" dirty="0">
                <a:solidFill>
                  <a:schemeClr val="tx1"/>
                </a:solidFill>
                <a:latin typeface="Arial" panose="020B0604020202020204" pitchFamily="34" charset="0"/>
              </a:rPr>
              <a:t> + ADT + docetaxel</a:t>
            </a:r>
          </a:p>
          <a:p>
            <a:pPr lvl="3"/>
            <a:r>
              <a:rPr lang="en-US" sz="1400" dirty="0">
                <a:solidFill>
                  <a:schemeClr val="tx1"/>
                </a:solidFill>
                <a:latin typeface="Arial" panose="020B0604020202020204" pitchFamily="34" charset="0"/>
              </a:rPr>
              <a:t>Similarly, </a:t>
            </a:r>
            <a:r>
              <a:rPr lang="en-US" sz="1400" dirty="0" err="1">
                <a:solidFill>
                  <a:schemeClr val="tx1"/>
                </a:solidFill>
                <a:latin typeface="Arial" panose="020B0604020202020204" pitchFamily="34" charset="0"/>
              </a:rPr>
              <a:t>darolutamide</a:t>
            </a:r>
            <a:r>
              <a:rPr lang="en-US" sz="1400" dirty="0">
                <a:solidFill>
                  <a:schemeClr val="tx1"/>
                </a:solidFill>
                <a:latin typeface="Arial" panose="020B0604020202020204" pitchFamily="34" charset="0"/>
              </a:rPr>
              <a:t> achieved higher rates of undetectable PSA at any time vs. placebo in high-risk (63.1% vs 24.1%) and low‑risk (76.9% vs 39.2%) subgroups</a:t>
            </a:r>
          </a:p>
          <a:p>
            <a:pPr marL="269973" lvl="2" indent="0">
              <a:buNone/>
            </a:pPr>
            <a:endParaRPr lang="en-US" sz="1400" b="1" u="sng" dirty="0">
              <a:solidFill>
                <a:schemeClr val="tx1"/>
              </a:solidFill>
              <a:latin typeface="Arial" panose="020B0604020202020204" pitchFamily="34" charset="0"/>
            </a:endParaRPr>
          </a:p>
          <a:p>
            <a:pPr lvl="2"/>
            <a:r>
              <a:rPr lang="en-US" sz="1400" b="1" u="sng" dirty="0">
                <a:solidFill>
                  <a:schemeClr val="tx1"/>
                </a:solidFill>
                <a:latin typeface="Arial" panose="020B0604020202020204" pitchFamily="34" charset="0"/>
              </a:rPr>
              <a:t>PSA90 Response: </a:t>
            </a:r>
            <a:r>
              <a:rPr lang="en-US" sz="1400" dirty="0">
                <a:solidFill>
                  <a:schemeClr val="tx1"/>
                </a:solidFill>
                <a:latin typeface="Arial" panose="020B0604020202020204" pitchFamily="34" charset="0"/>
              </a:rPr>
              <a:t>Patients with high- and low- volume disease receiving </a:t>
            </a:r>
            <a:r>
              <a:rPr lang="en-US" sz="1400" dirty="0" err="1">
                <a:solidFill>
                  <a:schemeClr val="tx1"/>
                </a:solidFill>
                <a:latin typeface="Arial" panose="020B0604020202020204" pitchFamily="34" charset="0"/>
              </a:rPr>
              <a:t>darolutamide</a:t>
            </a:r>
            <a:r>
              <a:rPr lang="en-US" sz="1400" dirty="0">
                <a:solidFill>
                  <a:schemeClr val="tx1"/>
                </a:solidFill>
                <a:latin typeface="Arial" panose="020B0604020202020204" pitchFamily="34" charset="0"/>
              </a:rPr>
              <a:t> demonstrated rapid </a:t>
            </a:r>
            <a:r>
              <a:rPr lang="en-US" sz="1400" b="1" dirty="0">
                <a:solidFill>
                  <a:schemeClr val="tx1"/>
                </a:solidFill>
                <a:latin typeface="Arial" panose="020B0604020202020204" pitchFamily="34" charset="0"/>
              </a:rPr>
              <a:t>PSA90 response </a:t>
            </a:r>
            <a:r>
              <a:rPr lang="en-US" sz="1400" dirty="0">
                <a:solidFill>
                  <a:schemeClr val="tx1"/>
                </a:solidFill>
                <a:latin typeface="Arial" panose="020B0604020202020204" pitchFamily="34" charset="0"/>
              </a:rPr>
              <a:t>within 12 weeks, with &gt;80% achieving PSA90 at 24 weeks and beyond</a:t>
            </a:r>
          </a:p>
          <a:p>
            <a:pPr lvl="2"/>
            <a:endParaRPr lang="en-US" sz="1400" dirty="0">
              <a:solidFill>
                <a:schemeClr val="tx1"/>
              </a:solidFill>
              <a:latin typeface="Arial" panose="020B0604020202020204" pitchFamily="34" charset="0"/>
            </a:endParaRPr>
          </a:p>
          <a:p>
            <a:pPr marL="269973" lvl="2" indent="0">
              <a:buNone/>
            </a:pPr>
            <a:endParaRPr lang="en-US" sz="1400" dirty="0">
              <a:solidFill>
                <a:schemeClr val="tx1"/>
              </a:solidFill>
              <a:latin typeface="Arial" panose="020B0604020202020204" pitchFamily="34" charset="0"/>
            </a:endParaRPr>
          </a:p>
          <a:p>
            <a:pPr lvl="2"/>
            <a:endParaRPr lang="en-US" sz="1400" dirty="0">
              <a:solidFill>
                <a:schemeClr val="tx1"/>
              </a:solidFill>
              <a:latin typeface="Arial" panose="020B0604020202020204" pitchFamily="34" charset="0"/>
            </a:endParaRPr>
          </a:p>
          <a:p>
            <a:pPr marL="269973" lvl="2" indent="0">
              <a:buNone/>
            </a:pPr>
            <a:endParaRPr lang="en-US" sz="1400" baseline="30000" dirty="0">
              <a:solidFill>
                <a:schemeClr val="tx1"/>
              </a:solidFill>
              <a:latin typeface="Arial" panose="020B0604020202020204" pitchFamily="34" charset="0"/>
            </a:endParaRPr>
          </a:p>
        </p:txBody>
      </p:sp>
      <p:sp>
        <p:nvSpPr>
          <p:cNvPr id="19" name="Text Placeholder 4">
            <a:extLst>
              <a:ext uri="{FF2B5EF4-FFF2-40B4-BE49-F238E27FC236}">
                <a16:creationId xmlns:a16="http://schemas.microsoft.com/office/drawing/2014/main" id="{3EF7D229-5AC9-F72A-37D7-14BD08FD2E25}"/>
              </a:ext>
            </a:extLst>
          </p:cNvPr>
          <p:cNvSpPr txBox="1">
            <a:spLocks/>
          </p:cNvSpPr>
          <p:nvPr/>
        </p:nvSpPr>
        <p:spPr>
          <a:xfrm>
            <a:off x="460039" y="1239912"/>
            <a:ext cx="7331224" cy="4809363"/>
          </a:xfrm>
          <a:prstGeom prst="rect">
            <a:avLst/>
          </a:prstGeom>
        </p:spPr>
        <p:txBody>
          <a:bodyPr lIns="91428" tIns="45714" rIns="91428" bIns="45714" anchor="t"/>
          <a:lstStyle>
            <a:lvl1pPr marL="0" indent="0" algn="l" defTabSz="914400" rtl="0" eaLnBrk="1" latinLnBrk="0" hangingPunct="1">
              <a:spcBef>
                <a:spcPts val="1200"/>
              </a:spcBef>
              <a:spcAft>
                <a:spcPts val="600"/>
              </a:spcAft>
              <a:buFont typeface="Arial" panose="020B0604020202020204" pitchFamily="34" charset="0"/>
              <a:buNone/>
              <a:defRPr sz="1800" b="0" kern="1200" baseline="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6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4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269848" lvl="1" indent="-269848" defTabSz="914218">
              <a:lnSpc>
                <a:spcPct val="90000"/>
              </a:lnSpc>
              <a:spcBef>
                <a:spcPts val="200"/>
              </a:spcBef>
              <a:spcAft>
                <a:spcPts val="200"/>
              </a:spcAft>
              <a:defRPr/>
            </a:pPr>
            <a:endParaRPr lang="en-US" sz="1200">
              <a:solidFill>
                <a:srgbClr val="000000"/>
              </a:solidFill>
              <a:latin typeface="Arial"/>
              <a:ea typeface="Arial Unicode MS"/>
              <a:cs typeface="Arial"/>
            </a:endParaRPr>
          </a:p>
        </p:txBody>
      </p:sp>
      <p:sp>
        <p:nvSpPr>
          <p:cNvPr id="31" name="Text Placeholder 1">
            <a:extLst>
              <a:ext uri="{FF2B5EF4-FFF2-40B4-BE49-F238E27FC236}">
                <a16:creationId xmlns:a16="http://schemas.microsoft.com/office/drawing/2014/main" id="{EF59B2CA-63E0-A168-AEB4-C93694444135}"/>
              </a:ext>
            </a:extLst>
          </p:cNvPr>
          <p:cNvSpPr txBox="1">
            <a:spLocks/>
          </p:cNvSpPr>
          <p:nvPr/>
        </p:nvSpPr>
        <p:spPr bwMode="gray">
          <a:xfrm>
            <a:off x="452227" y="2340039"/>
            <a:ext cx="3573086" cy="539931"/>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b="0" kern="1200" baseline="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6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4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269973" lvl="1" indent="-269973" defTabSz="914309">
              <a:defRPr/>
            </a:pPr>
            <a:endParaRPr lang="en-US" sz="1200">
              <a:solidFill>
                <a:srgbClr val="000000"/>
              </a:solidFill>
              <a:latin typeface="Arial" panose="020B0604020202020204" pitchFamily="34" charset="0"/>
              <a:ea typeface="Arial Unicode MS"/>
              <a:cs typeface="Arial"/>
            </a:endParaRPr>
          </a:p>
        </p:txBody>
      </p:sp>
      <p:sp>
        <p:nvSpPr>
          <p:cNvPr id="12" name="Rectangle 11">
            <a:extLst>
              <a:ext uri="{FF2B5EF4-FFF2-40B4-BE49-F238E27FC236}">
                <a16:creationId xmlns:a16="http://schemas.microsoft.com/office/drawing/2014/main" id="{25F3398D-D0BC-2E4A-780D-2545145AE156}"/>
              </a:ext>
            </a:extLst>
          </p:cNvPr>
          <p:cNvSpPr/>
          <p:nvPr/>
        </p:nvSpPr>
        <p:spPr bwMode="gray">
          <a:xfrm>
            <a:off x="6413848" y="1248214"/>
            <a:ext cx="4707807" cy="276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09">
              <a:defRPr/>
            </a:pPr>
            <a:r>
              <a:rPr lang="en-US" sz="1200" b="1">
                <a:solidFill>
                  <a:srgbClr val="000000"/>
                </a:solidFill>
                <a:latin typeface="Arial"/>
                <a:ea typeface="Arial Unicode MS"/>
                <a:cs typeface="Arial"/>
              </a:rPr>
              <a:t>Undetectable PSA by disease volume subgroups</a:t>
            </a:r>
          </a:p>
        </p:txBody>
      </p:sp>
      <p:pic>
        <p:nvPicPr>
          <p:cNvPr id="15" name="Picture 14">
            <a:extLst>
              <a:ext uri="{FF2B5EF4-FFF2-40B4-BE49-F238E27FC236}">
                <a16:creationId xmlns:a16="http://schemas.microsoft.com/office/drawing/2014/main" id="{DE408F40-B140-33DC-5BD6-DE9F81AEB232}"/>
              </a:ext>
            </a:extLst>
          </p:cNvPr>
          <p:cNvPicPr>
            <a:picLocks noChangeAspect="1"/>
          </p:cNvPicPr>
          <p:nvPr/>
        </p:nvPicPr>
        <p:blipFill>
          <a:blip r:embed="rId7"/>
          <a:stretch>
            <a:fillRect/>
          </a:stretch>
        </p:blipFill>
        <p:spPr>
          <a:xfrm>
            <a:off x="6413849" y="1551211"/>
            <a:ext cx="4707807" cy="4584727"/>
          </a:xfrm>
          <a:prstGeom prst="rect">
            <a:avLst/>
          </a:prstGeom>
        </p:spPr>
      </p:pic>
      <p:pic>
        <p:nvPicPr>
          <p:cNvPr id="3" name="Picture 2">
            <a:extLst>
              <a:ext uri="{FF2B5EF4-FFF2-40B4-BE49-F238E27FC236}">
                <a16:creationId xmlns:a16="http://schemas.microsoft.com/office/drawing/2014/main" id="{267B101A-4CD2-7952-1451-9E373FFEA303}"/>
              </a:ext>
            </a:extLst>
          </p:cNvPr>
          <p:cNvPicPr>
            <a:picLocks noChangeAspect="1"/>
          </p:cNvPicPr>
          <p:nvPr/>
        </p:nvPicPr>
        <p:blipFill>
          <a:blip r:embed="rId8"/>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2518584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3">
            <a:extLst>
              <a:ext uri="{FF2B5EF4-FFF2-40B4-BE49-F238E27FC236}">
                <a16:creationId xmlns:a16="http://schemas.microsoft.com/office/drawing/2014/main" id="{5D0C7BCE-C110-AA67-C33A-18351558D934}"/>
              </a:ext>
            </a:extLst>
          </p:cNvPr>
          <p:cNvSpPr>
            <a:spLocks noGrp="1"/>
          </p:cNvSpPr>
          <p:nvPr>
            <p:ph type="ftr" sz="quarter" idx="11"/>
          </p:nvPr>
        </p:nvSpPr>
        <p:spPr>
          <a:xfrm>
            <a:off x="588170" y="6356351"/>
            <a:ext cx="10001858" cy="365125"/>
          </a:xfrm>
        </p:spPr>
        <p:txBody>
          <a:bodyPr/>
          <a:lstStyle/>
          <a:p>
            <a:pPr algn="l" defTabSz="914309">
              <a:defRPr/>
            </a:pPr>
            <a:r>
              <a:rPr lang="en-US" sz="800" b="0" dirty="0">
                <a:solidFill>
                  <a:schemeClr val="accent5"/>
                </a:solidFill>
                <a:latin typeface="Arial"/>
                <a:ea typeface="Arial Unicode MS"/>
                <a:cs typeface="Arial"/>
              </a:rPr>
              <a:t>ADT, androgen deprivation therapy; DARO, </a:t>
            </a:r>
            <a:r>
              <a:rPr lang="en-US" sz="800" b="0" dirty="0" err="1">
                <a:solidFill>
                  <a:schemeClr val="accent5"/>
                </a:solidFill>
                <a:latin typeface="Arial"/>
                <a:ea typeface="Arial Unicode MS"/>
                <a:cs typeface="Arial"/>
              </a:rPr>
              <a:t>darolutamide</a:t>
            </a:r>
            <a:r>
              <a:rPr lang="en-US" sz="800" b="0" dirty="0">
                <a:solidFill>
                  <a:schemeClr val="accent5"/>
                </a:solidFill>
                <a:latin typeface="Arial"/>
                <a:ea typeface="Arial Unicode MS"/>
                <a:cs typeface="Arial"/>
              </a:rPr>
              <a:t>; DOC, docetaxel; PBO, placebo; PSA, prostate-specific antigen; PSA90, ≥90% decline in PSA from baseline.</a:t>
            </a:r>
          </a:p>
          <a:p>
            <a:pPr algn="l" defTabSz="914309">
              <a:lnSpc>
                <a:spcPct val="150000"/>
              </a:lnSpc>
              <a:defRPr/>
            </a:pPr>
            <a:r>
              <a:rPr lang="en-US" sz="800" b="0" dirty="0">
                <a:solidFill>
                  <a:schemeClr val="accent5"/>
                </a:solidFill>
                <a:latin typeface="Arial"/>
                <a:ea typeface="Arial Unicode MS"/>
                <a:cs typeface="Arial"/>
              </a:rPr>
              <a:t>1. Saad et al. ESMO 2023, Abstract 1784P</a:t>
            </a:r>
            <a:r>
              <a:rPr lang="en-US" sz="800" b="0">
                <a:solidFill>
                  <a:schemeClr val="accent5"/>
                </a:solidFill>
                <a:latin typeface="Arial"/>
                <a:ea typeface="Arial Unicode MS"/>
                <a:cs typeface="Arial"/>
              </a:rPr>
              <a:t>. 3.</a:t>
            </a:r>
            <a:r>
              <a:rPr lang="en-US" sz="800" b="0" dirty="0">
                <a:solidFill>
                  <a:schemeClr val="accent5"/>
                </a:solidFill>
                <a:latin typeface="Arial"/>
                <a:ea typeface="Arial Unicode MS"/>
                <a:cs typeface="Arial"/>
              </a:rPr>
              <a:t>Saad F, et. al  Eur Urol. 2024 Apr 20:S0302-2838(24)02264-4. </a:t>
            </a:r>
            <a:r>
              <a:rPr lang="en-US" sz="800" b="0" dirty="0" err="1">
                <a:solidFill>
                  <a:schemeClr val="accent5"/>
                </a:solidFill>
                <a:latin typeface="Arial"/>
                <a:ea typeface="Arial Unicode MS"/>
                <a:cs typeface="Arial"/>
              </a:rPr>
              <a:t>doi</a:t>
            </a:r>
            <a:r>
              <a:rPr lang="en-US" sz="800" b="0" dirty="0">
                <a:solidFill>
                  <a:schemeClr val="accent5"/>
                </a:solidFill>
                <a:latin typeface="Arial"/>
                <a:ea typeface="Arial Unicode MS"/>
                <a:cs typeface="Arial"/>
              </a:rPr>
              <a:t>: 10.1016/j.eururo.2024.03.036. PMID: 38644146.</a:t>
            </a:r>
          </a:p>
          <a:p>
            <a:pPr algn="l" defTabSz="914309">
              <a:defRPr/>
            </a:pPr>
            <a:endParaRPr lang="en-US" sz="800" b="0" dirty="0">
              <a:solidFill>
                <a:schemeClr val="accent5"/>
              </a:solidFill>
              <a:latin typeface="Arial"/>
              <a:ea typeface="Arial Unicode MS"/>
              <a:cs typeface="Arial"/>
            </a:endParaRPr>
          </a:p>
        </p:txBody>
      </p:sp>
      <p:sp>
        <p:nvSpPr>
          <p:cNvPr id="13" name="Title 2">
            <a:extLst>
              <a:ext uri="{FF2B5EF4-FFF2-40B4-BE49-F238E27FC236}">
                <a16:creationId xmlns:a16="http://schemas.microsoft.com/office/drawing/2014/main" id="{0FE8DC38-C13B-AB8C-62B7-0B16BCEF4CA5}"/>
              </a:ext>
            </a:extLst>
          </p:cNvPr>
          <p:cNvSpPr>
            <a:spLocks noGrp="1"/>
          </p:cNvSpPr>
          <p:nvPr>
            <p:ph type="title"/>
          </p:nvPr>
        </p:nvSpPr>
        <p:spPr/>
        <p:txBody>
          <a:bodyPr>
            <a:noAutofit/>
          </a:bodyPr>
          <a:lstStyle/>
          <a:p>
            <a:r>
              <a:rPr lang="en-US" sz="2300" dirty="0"/>
              <a:t>ARASENS: PSA Response and Association with Clinical Outcomes by Volume and </a:t>
            </a:r>
            <a:r>
              <a:rPr lang="en-US" sz="2300"/>
              <a:t>Risk subgroups</a:t>
            </a:r>
            <a:endParaRPr lang="en-US" sz="2300" dirty="0"/>
          </a:p>
        </p:txBody>
      </p:sp>
      <p:sp>
        <p:nvSpPr>
          <p:cNvPr id="2" name="Text Placeholder 1">
            <a:extLst>
              <a:ext uri="{FF2B5EF4-FFF2-40B4-BE49-F238E27FC236}">
                <a16:creationId xmlns:a16="http://schemas.microsoft.com/office/drawing/2014/main" id="{BBC5BA38-FFB0-443A-B40E-7511398C2ED8}"/>
              </a:ext>
            </a:extLst>
          </p:cNvPr>
          <p:cNvSpPr>
            <a:spLocks noGrp="1"/>
          </p:cNvSpPr>
          <p:nvPr>
            <p:ph type="body" sz="quarter" idx="4294967295"/>
          </p:nvPr>
        </p:nvSpPr>
        <p:spPr>
          <a:xfrm>
            <a:off x="0" y="5122863"/>
            <a:ext cx="11191875" cy="1003300"/>
          </a:xfrm>
        </p:spPr>
        <p:txBody>
          <a:bodyPr>
            <a:normAutofit lnSpcReduction="10000"/>
          </a:bodyPr>
          <a:lstStyle/>
          <a:p>
            <a:pPr marL="270000" lvl="2" indent="0">
              <a:spcBef>
                <a:spcPts val="0"/>
              </a:spcBef>
              <a:spcAft>
                <a:spcPts val="0"/>
              </a:spcAft>
              <a:buNone/>
            </a:pPr>
            <a:endParaRPr lang="en-US" sz="1400" dirty="0">
              <a:solidFill>
                <a:schemeClr val="tx1"/>
              </a:solidFill>
              <a:latin typeface="Arial" panose="020B0604020202020204" pitchFamily="34" charset="0"/>
            </a:endParaRPr>
          </a:p>
          <a:p>
            <a:pPr lvl="2">
              <a:spcBef>
                <a:spcPts val="0"/>
              </a:spcBef>
            </a:pPr>
            <a:r>
              <a:rPr lang="en-US" sz="1400" b="1" dirty="0">
                <a:solidFill>
                  <a:schemeClr val="tx1"/>
                </a:solidFill>
                <a:latin typeface="Arial" panose="020B0604020202020204" pitchFamily="34" charset="0"/>
              </a:rPr>
              <a:t>High-risk</a:t>
            </a:r>
            <a:r>
              <a:rPr lang="en-US" sz="1400" dirty="0">
                <a:solidFill>
                  <a:schemeClr val="tx1"/>
                </a:solidFill>
                <a:latin typeface="Arial" panose="020B0604020202020204" pitchFamily="34" charset="0"/>
              </a:rPr>
              <a:t> patients: median OS was not reached in patients with undetectable PSA (n=285) vs 28.0 months for those with detectable PSA (n=167) (HR 0.19; 95% CI, 0.14-0.26)</a:t>
            </a:r>
          </a:p>
          <a:p>
            <a:pPr lvl="2">
              <a:spcBef>
                <a:spcPts val="0"/>
              </a:spcBef>
              <a:spcAft>
                <a:spcPts val="0"/>
              </a:spcAft>
            </a:pPr>
            <a:r>
              <a:rPr lang="en-US" sz="1400" b="1" dirty="0">
                <a:solidFill>
                  <a:schemeClr val="tx1"/>
                </a:solidFill>
                <a:latin typeface="Arial" panose="020B0604020202020204" pitchFamily="34" charset="0"/>
              </a:rPr>
              <a:t>Low-risk</a:t>
            </a:r>
            <a:r>
              <a:rPr lang="en-US" sz="1400" dirty="0">
                <a:solidFill>
                  <a:schemeClr val="tx1"/>
                </a:solidFill>
                <a:latin typeface="Arial" panose="020B0604020202020204" pitchFamily="34" charset="0"/>
              </a:rPr>
              <a:t> patients: median OS was not reached in patients with undetectable PSA (n=153) vs 44.2 months for those with detectable PSA (n=46) (HR 0.30; 95% CI, 0.16-0.55)</a:t>
            </a:r>
          </a:p>
          <a:p>
            <a:pPr marL="269973" lvl="2" indent="0">
              <a:buNone/>
            </a:pPr>
            <a:endParaRPr lang="en-US" sz="1400" baseline="30000" dirty="0">
              <a:solidFill>
                <a:schemeClr val="tx1"/>
              </a:solidFill>
              <a:latin typeface="Arial" panose="020B0604020202020204" pitchFamily="34" charset="0"/>
            </a:endParaRPr>
          </a:p>
        </p:txBody>
      </p:sp>
      <p:sp>
        <p:nvSpPr>
          <p:cNvPr id="19" name="Text Placeholder 4">
            <a:extLst>
              <a:ext uri="{FF2B5EF4-FFF2-40B4-BE49-F238E27FC236}">
                <a16:creationId xmlns:a16="http://schemas.microsoft.com/office/drawing/2014/main" id="{FFE2F858-B106-4080-B0F3-7634B8215CF3}"/>
              </a:ext>
            </a:extLst>
          </p:cNvPr>
          <p:cNvSpPr txBox="1">
            <a:spLocks/>
          </p:cNvSpPr>
          <p:nvPr/>
        </p:nvSpPr>
        <p:spPr>
          <a:xfrm>
            <a:off x="460039" y="1239912"/>
            <a:ext cx="7331224" cy="4809363"/>
          </a:xfrm>
          <a:prstGeom prst="rect">
            <a:avLst/>
          </a:prstGeom>
        </p:spPr>
        <p:txBody>
          <a:bodyPr lIns="91428" tIns="45714" rIns="91428" bIns="45714" anchor="t"/>
          <a:lstStyle>
            <a:lvl1pPr marL="0" indent="0" algn="l" defTabSz="914400" rtl="0" eaLnBrk="1" latinLnBrk="0" hangingPunct="1">
              <a:spcBef>
                <a:spcPts val="1200"/>
              </a:spcBef>
              <a:spcAft>
                <a:spcPts val="600"/>
              </a:spcAft>
              <a:buFont typeface="Arial" panose="020B0604020202020204" pitchFamily="34" charset="0"/>
              <a:buNone/>
              <a:defRPr sz="1800" b="0" kern="1200" baseline="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7"/>
              </a:buBlip>
              <a:defRPr sz="16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8"/>
              </a:buBlip>
              <a:defRPr sz="14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9pPr>
          </a:lstStyle>
          <a:p>
            <a:pPr marL="269848" lvl="1" indent="-269848" defTabSz="914218">
              <a:lnSpc>
                <a:spcPct val="90000"/>
              </a:lnSpc>
              <a:spcBef>
                <a:spcPts val="200"/>
              </a:spcBef>
              <a:spcAft>
                <a:spcPts val="200"/>
              </a:spcAft>
              <a:defRPr/>
            </a:pPr>
            <a:endParaRPr lang="en-US" sz="1200">
              <a:solidFill>
                <a:srgbClr val="000000"/>
              </a:solidFill>
              <a:latin typeface="Arial"/>
              <a:ea typeface="Arial Unicode MS"/>
              <a:cs typeface="Arial"/>
            </a:endParaRPr>
          </a:p>
        </p:txBody>
      </p:sp>
      <p:sp>
        <p:nvSpPr>
          <p:cNvPr id="31" name="Text Placeholder 1">
            <a:extLst>
              <a:ext uri="{FF2B5EF4-FFF2-40B4-BE49-F238E27FC236}">
                <a16:creationId xmlns:a16="http://schemas.microsoft.com/office/drawing/2014/main" id="{6CD6F3E8-0124-47E8-B86B-60BE2441548B}"/>
              </a:ext>
            </a:extLst>
          </p:cNvPr>
          <p:cNvSpPr txBox="1">
            <a:spLocks/>
          </p:cNvSpPr>
          <p:nvPr>
            <p:custDataLst>
              <p:tags r:id="rId1"/>
            </p:custDataLst>
          </p:nvPr>
        </p:nvSpPr>
        <p:spPr bwMode="gray">
          <a:xfrm>
            <a:off x="452227" y="2149539"/>
            <a:ext cx="3573086" cy="539931"/>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b="0" kern="1200" baseline="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7"/>
              </a:buBlip>
              <a:defRPr sz="16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8"/>
              </a:buBlip>
              <a:defRPr sz="14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9pPr>
          </a:lstStyle>
          <a:p>
            <a:pPr marL="269973" lvl="1" indent="-269973" defTabSz="914309">
              <a:defRPr/>
            </a:pPr>
            <a:endParaRPr lang="en-US" sz="1200">
              <a:solidFill>
                <a:srgbClr val="000000"/>
              </a:solidFill>
              <a:latin typeface="Arial" panose="020B0604020202020204" pitchFamily="34" charset="0"/>
              <a:ea typeface="Arial Unicode MS"/>
              <a:cs typeface="Arial"/>
            </a:endParaRPr>
          </a:p>
        </p:txBody>
      </p:sp>
      <p:sp>
        <p:nvSpPr>
          <p:cNvPr id="12" name="Rectangle 11">
            <a:extLst>
              <a:ext uri="{FF2B5EF4-FFF2-40B4-BE49-F238E27FC236}">
                <a16:creationId xmlns:a16="http://schemas.microsoft.com/office/drawing/2014/main" id="{96A7B586-68BC-ED77-CC4A-81C9CD82890F}"/>
              </a:ext>
            </a:extLst>
          </p:cNvPr>
          <p:cNvSpPr/>
          <p:nvPr>
            <p:custDataLst>
              <p:tags r:id="rId2"/>
            </p:custDataLst>
          </p:nvPr>
        </p:nvSpPr>
        <p:spPr bwMode="gray">
          <a:xfrm>
            <a:off x="503106" y="1350765"/>
            <a:ext cx="11522136"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09">
              <a:defRPr/>
            </a:pPr>
            <a:r>
              <a:rPr lang="en-US" sz="1400" b="1">
                <a:solidFill>
                  <a:schemeClr val="tx1"/>
                </a:solidFill>
                <a:latin typeface="Arial"/>
                <a:ea typeface="Arial Unicode MS"/>
                <a:cs typeface="Arial"/>
              </a:rPr>
              <a:t>Association between achievement of undetectable PSA at any time and OS in </a:t>
            </a:r>
            <a:r>
              <a:rPr lang="en-US" sz="1400" b="1" err="1">
                <a:solidFill>
                  <a:schemeClr val="tx1"/>
                </a:solidFill>
                <a:latin typeface="Arial"/>
                <a:ea typeface="Arial Unicode MS"/>
                <a:cs typeface="Arial"/>
              </a:rPr>
              <a:t>darolutamide</a:t>
            </a:r>
            <a:r>
              <a:rPr lang="en-US" sz="1400" b="1">
                <a:solidFill>
                  <a:schemeClr val="tx1"/>
                </a:solidFill>
                <a:latin typeface="Arial"/>
                <a:ea typeface="Arial Unicode MS"/>
                <a:cs typeface="Arial"/>
              </a:rPr>
              <a:t>-treated patients by disease volume subgroups</a:t>
            </a:r>
          </a:p>
        </p:txBody>
      </p:sp>
      <p:pic>
        <p:nvPicPr>
          <p:cNvPr id="18" name="Picture 17">
            <a:extLst>
              <a:ext uri="{FF2B5EF4-FFF2-40B4-BE49-F238E27FC236}">
                <a16:creationId xmlns:a16="http://schemas.microsoft.com/office/drawing/2014/main" id="{DF9EE633-AF7F-AF6E-1C09-38302E6F9C25}"/>
              </a:ext>
            </a:extLst>
          </p:cNvPr>
          <p:cNvPicPr>
            <a:picLocks noChangeAspect="1"/>
          </p:cNvPicPr>
          <p:nvPr/>
        </p:nvPicPr>
        <p:blipFill>
          <a:blip r:embed="rId9"/>
          <a:stretch>
            <a:fillRect/>
          </a:stretch>
        </p:blipFill>
        <p:spPr>
          <a:xfrm>
            <a:off x="503106" y="1893367"/>
            <a:ext cx="5666527" cy="3082734"/>
          </a:xfrm>
          <a:prstGeom prst="rect">
            <a:avLst/>
          </a:prstGeom>
        </p:spPr>
      </p:pic>
      <p:pic>
        <p:nvPicPr>
          <p:cNvPr id="21" name="Picture 20">
            <a:extLst>
              <a:ext uri="{FF2B5EF4-FFF2-40B4-BE49-F238E27FC236}">
                <a16:creationId xmlns:a16="http://schemas.microsoft.com/office/drawing/2014/main" id="{D8102E36-EA83-60A1-45A1-6EE500A36CF7}"/>
              </a:ext>
            </a:extLst>
          </p:cNvPr>
          <p:cNvPicPr>
            <a:picLocks noChangeAspect="1"/>
          </p:cNvPicPr>
          <p:nvPr/>
        </p:nvPicPr>
        <p:blipFill>
          <a:blip r:embed="rId10"/>
          <a:stretch>
            <a:fillRect/>
          </a:stretch>
        </p:blipFill>
        <p:spPr>
          <a:xfrm>
            <a:off x="6279132" y="1880400"/>
            <a:ext cx="5746110" cy="3082735"/>
          </a:xfrm>
          <a:prstGeom prst="rect">
            <a:avLst/>
          </a:prstGeom>
        </p:spPr>
      </p:pic>
      <p:pic>
        <p:nvPicPr>
          <p:cNvPr id="4" name="Picture 3">
            <a:extLst>
              <a:ext uri="{FF2B5EF4-FFF2-40B4-BE49-F238E27FC236}">
                <a16:creationId xmlns:a16="http://schemas.microsoft.com/office/drawing/2014/main" id="{192884DB-09EF-F3CC-59D0-929D6891D27A}"/>
              </a:ext>
            </a:extLst>
          </p:cNvPr>
          <p:cNvPicPr>
            <a:picLocks noChangeAspect="1"/>
          </p:cNvPicPr>
          <p:nvPr/>
        </p:nvPicPr>
        <p:blipFill>
          <a:blip r:embed="rId11"/>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4196050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B84347-5AB3-36BC-A185-D5D52936C1E5}"/>
            </a:ext>
          </a:extLst>
        </p:cNvPr>
        <p:cNvGrpSpPr/>
        <p:nvPr/>
      </p:nvGrpSpPr>
      <p:grpSpPr>
        <a:xfrm>
          <a:off x="0" y="0"/>
          <a:ext cx="0" cy="0"/>
          <a:chOff x="0" y="0"/>
          <a:chExt cx="0" cy="0"/>
        </a:xfrm>
      </p:grpSpPr>
      <p:sp>
        <p:nvSpPr>
          <p:cNvPr id="23" name="Footer Placeholder 4">
            <a:extLst>
              <a:ext uri="{FF2B5EF4-FFF2-40B4-BE49-F238E27FC236}">
                <a16:creationId xmlns:a16="http://schemas.microsoft.com/office/drawing/2014/main" id="{C6BE13E5-B569-38FC-B450-56E027DD8062}"/>
              </a:ext>
            </a:extLst>
          </p:cNvPr>
          <p:cNvSpPr txBox="1">
            <a:spLocks/>
          </p:cNvSpPr>
          <p:nvPr/>
        </p:nvSpPr>
        <p:spPr>
          <a:xfrm>
            <a:off x="108488" y="6408656"/>
            <a:ext cx="11964692" cy="441872"/>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dirty="0">
                <a:solidFill>
                  <a:schemeClr val="accent6"/>
                </a:solidFill>
              </a:rPr>
              <a:t>3</a:t>
            </a:r>
            <a:r>
              <a:rPr lang="en-US" sz="900">
                <a:solidFill>
                  <a:schemeClr val="accent6"/>
                </a:solidFill>
              </a:rPr>
              <a:t>. </a:t>
            </a:r>
            <a:r>
              <a:rPr lang="en-US" sz="900" dirty="0">
                <a:solidFill>
                  <a:schemeClr val="accent6"/>
                </a:solidFill>
              </a:rPr>
              <a:t>Saad et. al. Eur Urol. 2024 Apr 20:S0302-2838(24)02264-4. </a:t>
            </a:r>
            <a:r>
              <a:rPr lang="en-US" sz="900" dirty="0" err="1">
                <a:solidFill>
                  <a:schemeClr val="accent6"/>
                </a:solidFill>
              </a:rPr>
              <a:t>doi</a:t>
            </a:r>
            <a:r>
              <a:rPr lang="en-US" sz="900" dirty="0">
                <a:solidFill>
                  <a:schemeClr val="accent6"/>
                </a:solidFill>
              </a:rPr>
              <a:t>: 10.1016/j.eururo.2024.03.036</a:t>
            </a:r>
          </a:p>
        </p:txBody>
      </p:sp>
      <p:sp>
        <p:nvSpPr>
          <p:cNvPr id="31" name="Title 3">
            <a:extLst>
              <a:ext uri="{FF2B5EF4-FFF2-40B4-BE49-F238E27FC236}">
                <a16:creationId xmlns:a16="http://schemas.microsoft.com/office/drawing/2014/main" id="{97001DE4-0BEB-0B6A-F5E6-323851116298}"/>
              </a:ext>
            </a:extLst>
          </p:cNvPr>
          <p:cNvSpPr>
            <a:spLocks noGrp="1"/>
          </p:cNvSpPr>
          <p:nvPr>
            <p:ph type="title"/>
          </p:nvPr>
        </p:nvSpPr>
        <p:spPr/>
        <p:txBody>
          <a:bodyPr anchor="ctr">
            <a:normAutofit/>
          </a:bodyPr>
          <a:lstStyle/>
          <a:p>
            <a:r>
              <a:rPr lang="en-US" sz="2300" dirty="0"/>
              <a:t>ARASENS: Association of PSA response </a:t>
            </a:r>
            <a:br>
              <a:rPr lang="en-US" sz="2300" dirty="0"/>
            </a:br>
            <a:r>
              <a:rPr lang="en-US" sz="2300" dirty="0"/>
              <a:t>and Overall survival</a:t>
            </a:r>
            <a:endParaRPr lang="en-US" sz="2300" baseline="30000" dirty="0"/>
          </a:p>
        </p:txBody>
      </p:sp>
      <p:sp>
        <p:nvSpPr>
          <p:cNvPr id="6" name="Textfeld 5">
            <a:extLst>
              <a:ext uri="{FF2B5EF4-FFF2-40B4-BE49-F238E27FC236}">
                <a16:creationId xmlns:a16="http://schemas.microsoft.com/office/drawing/2014/main" id="{10E53BC0-8BB2-1175-5FEF-CD4F39C89248}"/>
              </a:ext>
            </a:extLst>
          </p:cNvPr>
          <p:cNvSpPr txBox="1"/>
          <p:nvPr>
            <p:custDataLst>
              <p:tags r:id="rId1"/>
            </p:custDataLst>
          </p:nvPr>
        </p:nvSpPr>
        <p:spPr bwMode="gray">
          <a:xfrm>
            <a:off x="8319800" y="4273817"/>
            <a:ext cx="3555146" cy="1785104"/>
          </a:xfrm>
          <a:prstGeom prst="rect">
            <a:avLst/>
          </a:prstGeom>
          <a:noFill/>
        </p:spPr>
        <p:txBody>
          <a:bodyPr wrap="square">
            <a:spAutoFit/>
          </a:bodyPr>
          <a:lstStyle/>
          <a:p>
            <a:r>
              <a:rPr lang="en-US" sz="1000" dirty="0"/>
              <a:t>Fig. 2 – Association of undetectable PSA (&lt;0.2 ng/ml) versus detectable PSA (≥0.2 ng/ml) with efficacy outcomes in the </a:t>
            </a:r>
            <a:r>
              <a:rPr lang="en-US" sz="1000" dirty="0" err="1"/>
              <a:t>darolutamide</a:t>
            </a:r>
            <a:r>
              <a:rPr lang="en-US" sz="1000" dirty="0"/>
              <a:t> group: (A) overall survival;</a:t>
            </a:r>
          </a:p>
          <a:p>
            <a:r>
              <a:rPr lang="en-US" sz="1000" dirty="0"/>
              <a:t>(B) time to CRPC; and (C) time to PSA progression. High-volume disease is defined according to the CHAARTED criteria as the presence of visceral</a:t>
            </a:r>
          </a:p>
          <a:p>
            <a:r>
              <a:rPr lang="en-US" sz="1000" dirty="0"/>
              <a:t>metastases or at least four bone lesions with at least one beyond the vertebral bodies and pelvis. CI = confidence interval; CRPC = castration-resistant prostate</a:t>
            </a:r>
          </a:p>
          <a:p>
            <a:r>
              <a:rPr lang="en-US" sz="1000" dirty="0"/>
              <a:t>cancer; HR = hazard ratio; NE = not estimable; PSA = prostate-specific antigen.</a:t>
            </a:r>
            <a:endParaRPr lang="de-DE" sz="1000" dirty="0"/>
          </a:p>
        </p:txBody>
      </p:sp>
      <p:pic>
        <p:nvPicPr>
          <p:cNvPr id="3" name="Grafik 2">
            <a:extLst>
              <a:ext uri="{FF2B5EF4-FFF2-40B4-BE49-F238E27FC236}">
                <a16:creationId xmlns:a16="http://schemas.microsoft.com/office/drawing/2014/main" id="{9405D0A5-2DCB-13B5-1017-73604FC98788}"/>
              </a:ext>
            </a:extLst>
          </p:cNvPr>
          <p:cNvPicPr>
            <a:picLocks noChangeAspect="1"/>
          </p:cNvPicPr>
          <p:nvPr/>
        </p:nvPicPr>
        <p:blipFill rotWithShape="1">
          <a:blip r:embed="rId4"/>
          <a:srcRect r="1911"/>
          <a:stretch/>
        </p:blipFill>
        <p:spPr>
          <a:xfrm>
            <a:off x="479773" y="1242060"/>
            <a:ext cx="7932708" cy="5400000"/>
          </a:xfrm>
          <a:prstGeom prst="rect">
            <a:avLst/>
          </a:prstGeom>
        </p:spPr>
      </p:pic>
      <p:pic>
        <p:nvPicPr>
          <p:cNvPr id="2" name="Picture 1">
            <a:extLst>
              <a:ext uri="{FF2B5EF4-FFF2-40B4-BE49-F238E27FC236}">
                <a16:creationId xmlns:a16="http://schemas.microsoft.com/office/drawing/2014/main" id="{FABDD1F1-BAFD-0527-CC67-3879573FD9CE}"/>
              </a:ext>
            </a:extLst>
          </p:cNvPr>
          <p:cNvPicPr>
            <a:picLocks noChangeAspect="1"/>
          </p:cNvPicPr>
          <p:nvPr/>
        </p:nvPicPr>
        <p:blipFill>
          <a:blip r:embed="rId5"/>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13985233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4">
            <a:extLst>
              <a:ext uri="{FF2B5EF4-FFF2-40B4-BE49-F238E27FC236}">
                <a16:creationId xmlns:a16="http://schemas.microsoft.com/office/drawing/2014/main" id="{2526FF38-5CA1-43DF-A513-829624073D05}"/>
              </a:ext>
            </a:extLst>
          </p:cNvPr>
          <p:cNvSpPr txBox="1">
            <a:spLocks/>
          </p:cNvSpPr>
          <p:nvPr/>
        </p:nvSpPr>
        <p:spPr>
          <a:xfrm>
            <a:off x="108488" y="6070852"/>
            <a:ext cx="11123104" cy="726336"/>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baseline="30000" dirty="0">
                <a:solidFill>
                  <a:schemeClr val="accent5"/>
                </a:solidFill>
              </a:rPr>
              <a:t>a</a:t>
            </a:r>
            <a:r>
              <a:rPr lang="en-US" sz="900" dirty="0">
                <a:solidFill>
                  <a:schemeClr val="accent5"/>
                </a:solidFill>
              </a:rPr>
              <a:t>Exploratory analyses included time to PSA progression (≥25% increase from PSA nadir [lowest at or after baseline] and PSA increase ≥2 ng/mL 12 or more weeks from nadir [both confirmed by a second value ≥ 3 weeks later]) and undetectable PSA (&lt;0.2 ng/mL for 2 samples ≥3 weeks apart) at 24, 36, and 52 weeks and any time during treatment.</a:t>
            </a:r>
          </a:p>
          <a:p>
            <a:pPr>
              <a:defRPr/>
            </a:pPr>
            <a:endParaRPr lang="en-US" sz="400" dirty="0">
              <a:solidFill>
                <a:schemeClr val="accent5"/>
              </a:solidFill>
            </a:endParaRPr>
          </a:p>
          <a:p>
            <a:pPr>
              <a:defRPr/>
            </a:pPr>
            <a:r>
              <a:rPr lang="en-US" sz="900" dirty="0">
                <a:solidFill>
                  <a:schemeClr val="accent5"/>
                </a:solidFill>
              </a:rPr>
              <a:t>ADT, androgen deprivation therapy; CI, confidence interval; </a:t>
            </a:r>
            <a:r>
              <a:rPr lang="en-US" sz="900" dirty="0" err="1">
                <a:solidFill>
                  <a:schemeClr val="accent5"/>
                </a:solidFill>
              </a:rPr>
              <a:t>mHSPC</a:t>
            </a:r>
            <a:r>
              <a:rPr lang="en-US" sz="900" dirty="0">
                <a:solidFill>
                  <a:schemeClr val="accent5"/>
                </a:solidFill>
              </a:rPr>
              <a:t>, metastatic hormone-sensitive prostate cancer; NE, not estimable; PSA, prostate-specific antigen.</a:t>
            </a:r>
          </a:p>
          <a:p>
            <a:pPr>
              <a:defRPr/>
            </a:pPr>
            <a:endParaRPr lang="en-US" sz="400" dirty="0">
              <a:solidFill>
                <a:schemeClr val="accent5"/>
              </a:solidFill>
            </a:endParaRPr>
          </a:p>
          <a:p>
            <a:pPr>
              <a:defRPr/>
            </a:pPr>
            <a:r>
              <a:rPr lang="en-US" sz="900" dirty="0">
                <a:solidFill>
                  <a:schemeClr val="accent5"/>
                </a:solidFill>
              </a:rPr>
              <a:t>2</a:t>
            </a:r>
            <a:r>
              <a:rPr lang="en-US" sz="900">
                <a:solidFill>
                  <a:schemeClr val="accent5"/>
                </a:solidFill>
              </a:rPr>
              <a:t>. </a:t>
            </a:r>
            <a:r>
              <a:rPr lang="en-US" sz="900" dirty="0">
                <a:solidFill>
                  <a:schemeClr val="accent5"/>
                </a:solidFill>
              </a:rPr>
              <a:t>Saad F, et al. Presented at American Society of Clinical Oncology; June 3-7, 2022; Chicago, IL, USA. Abstract 5078</a:t>
            </a:r>
            <a:r>
              <a:rPr lang="en-US" sz="900">
                <a:solidFill>
                  <a:schemeClr val="accent5"/>
                </a:solidFill>
              </a:rPr>
              <a:t>. 3. </a:t>
            </a:r>
            <a:r>
              <a:rPr lang="en-US" sz="900" dirty="0">
                <a:solidFill>
                  <a:schemeClr val="accent5"/>
                </a:solidFill>
              </a:rPr>
              <a:t>Saad et. al. Eur Urol. 2024 Apr 20:S0302-2838(24)02264-4. </a:t>
            </a:r>
            <a:r>
              <a:rPr lang="en-US" sz="900" dirty="0" err="1">
                <a:solidFill>
                  <a:schemeClr val="accent5"/>
                </a:solidFill>
              </a:rPr>
              <a:t>doi</a:t>
            </a:r>
            <a:r>
              <a:rPr lang="en-US" sz="900" dirty="0">
                <a:solidFill>
                  <a:schemeClr val="accent5"/>
                </a:solidFill>
              </a:rPr>
              <a:t>: 10.1016/j.eururo.2024.03.036</a:t>
            </a:r>
          </a:p>
        </p:txBody>
      </p:sp>
      <p:sp>
        <p:nvSpPr>
          <p:cNvPr id="31" name="Title 3">
            <a:extLst>
              <a:ext uri="{FF2B5EF4-FFF2-40B4-BE49-F238E27FC236}">
                <a16:creationId xmlns:a16="http://schemas.microsoft.com/office/drawing/2014/main" id="{199D554E-8A05-458E-A83F-2A9D5D230F21}"/>
              </a:ext>
            </a:extLst>
          </p:cNvPr>
          <p:cNvSpPr>
            <a:spLocks noGrp="1"/>
          </p:cNvSpPr>
          <p:nvPr>
            <p:ph type="title"/>
          </p:nvPr>
        </p:nvSpPr>
        <p:spPr>
          <a:xfrm>
            <a:off x="495235" y="125128"/>
            <a:ext cx="9222923" cy="890872"/>
          </a:xfrm>
        </p:spPr>
        <p:txBody>
          <a:bodyPr anchor="ctr">
            <a:normAutofit/>
          </a:bodyPr>
          <a:lstStyle/>
          <a:p>
            <a:r>
              <a:rPr lang="en-US" sz="2300" dirty="0"/>
              <a:t>ARASENS: Time to PSA </a:t>
            </a:r>
            <a:r>
              <a:rPr lang="en-US" sz="2300" dirty="0" err="1"/>
              <a:t>Progression</a:t>
            </a:r>
            <a:r>
              <a:rPr lang="en-US" sz="2300" baseline="30000" dirty="0" err="1"/>
              <a:t>a</a:t>
            </a:r>
            <a:r>
              <a:rPr lang="en-US" sz="2300" baseline="30000" dirty="0"/>
              <a:t> </a:t>
            </a:r>
            <a:r>
              <a:rPr lang="en-US" sz="2300" dirty="0"/>
              <a:t>- Overall Population</a:t>
            </a:r>
            <a:endParaRPr lang="en-US" sz="2300" baseline="30000" dirty="0"/>
          </a:p>
        </p:txBody>
      </p:sp>
      <p:grpSp>
        <p:nvGrpSpPr>
          <p:cNvPr id="2" name="Group 1">
            <a:extLst>
              <a:ext uri="{FF2B5EF4-FFF2-40B4-BE49-F238E27FC236}">
                <a16:creationId xmlns:a16="http://schemas.microsoft.com/office/drawing/2014/main" id="{54A02E98-9336-4D28-8216-7008090FB100}"/>
              </a:ext>
            </a:extLst>
          </p:cNvPr>
          <p:cNvGrpSpPr/>
          <p:nvPr/>
        </p:nvGrpSpPr>
        <p:grpSpPr>
          <a:xfrm>
            <a:off x="2580565" y="1502885"/>
            <a:ext cx="6719846" cy="4221906"/>
            <a:chOff x="2580565" y="1781852"/>
            <a:chExt cx="7029282" cy="4467434"/>
          </a:xfrm>
        </p:grpSpPr>
        <p:pic>
          <p:nvPicPr>
            <p:cNvPr id="29" name="Picture 28" descr="A picture containing smoke, chain&#10;&#10;Description automatically generated">
              <a:extLst>
                <a:ext uri="{FF2B5EF4-FFF2-40B4-BE49-F238E27FC236}">
                  <a16:creationId xmlns:a16="http://schemas.microsoft.com/office/drawing/2014/main" id="{23B43E2F-190F-489C-AA95-C0790DEC195C}"/>
                </a:ext>
              </a:extLst>
            </p:cNvPr>
            <p:cNvPicPr>
              <a:picLocks noChangeAspect="1"/>
            </p:cNvPicPr>
            <p:nvPr/>
          </p:nvPicPr>
          <p:blipFill rotWithShape="1">
            <a:blip r:embed="rId3">
              <a:extLst>
                <a:ext uri="{28A0092B-C50C-407E-A947-70E740481C1C}">
                  <a14:useLocalDpi xmlns:a14="http://schemas.microsoft.com/office/drawing/2010/main" val="0"/>
                </a:ext>
              </a:extLst>
            </a:blip>
            <a:srcRect l="10261" t="539" r="1359" b="23266"/>
            <a:stretch/>
          </p:blipFill>
          <p:spPr>
            <a:xfrm>
              <a:off x="3473764" y="2037237"/>
              <a:ext cx="6043142" cy="3086034"/>
            </a:xfrm>
            <a:prstGeom prst="rect">
              <a:avLst/>
            </a:prstGeom>
          </p:spPr>
        </p:pic>
        <p:sp>
          <p:nvSpPr>
            <p:cNvPr id="30" name="TextBox 29">
              <a:extLst>
                <a:ext uri="{FF2B5EF4-FFF2-40B4-BE49-F238E27FC236}">
                  <a16:creationId xmlns:a16="http://schemas.microsoft.com/office/drawing/2014/main" id="{AFA3F6DC-8619-4E8F-B59E-C0E3B7E56AA4}"/>
                </a:ext>
              </a:extLst>
            </p:cNvPr>
            <p:cNvSpPr txBox="1"/>
            <p:nvPr/>
          </p:nvSpPr>
          <p:spPr bwMode="gray">
            <a:xfrm>
              <a:off x="4703560" y="4082373"/>
              <a:ext cx="2201984" cy="332670"/>
            </a:xfrm>
            <a:prstGeom prst="rect">
              <a:avLst/>
            </a:prstGeom>
            <a:solidFill>
              <a:schemeClr val="bg1"/>
            </a:solidFill>
          </p:spPr>
          <p:txBody>
            <a:bodyPr wrap="none" lIns="0" tIns="0" rIns="0" bIns="0" rtlCol="0">
              <a:noAutofit/>
            </a:bodyPr>
            <a:lstStyle/>
            <a:p>
              <a:r>
                <a:rPr lang="en-US" sz="1200" b="1" dirty="0">
                  <a:solidFill>
                    <a:srgbClr val="99769F"/>
                  </a:solidFill>
                </a:rPr>
                <a:t>Placebo + ADT + Docetaxel</a:t>
              </a:r>
            </a:p>
            <a:p>
              <a:r>
                <a:rPr lang="en-US" sz="1200" dirty="0">
                  <a:solidFill>
                    <a:srgbClr val="99769F"/>
                  </a:solidFill>
                </a:rPr>
                <a:t>Median 22.4 months (95% CI, 22.1-27.6)</a:t>
              </a:r>
            </a:p>
          </p:txBody>
        </p:sp>
        <p:sp>
          <p:nvSpPr>
            <p:cNvPr id="34" name="TextBox 33">
              <a:extLst>
                <a:ext uri="{FF2B5EF4-FFF2-40B4-BE49-F238E27FC236}">
                  <a16:creationId xmlns:a16="http://schemas.microsoft.com/office/drawing/2014/main" id="{0565C8DD-4EF2-4B39-9778-B9B14EABBDD0}"/>
                </a:ext>
              </a:extLst>
            </p:cNvPr>
            <p:cNvSpPr txBox="1"/>
            <p:nvPr/>
          </p:nvSpPr>
          <p:spPr bwMode="gray">
            <a:xfrm>
              <a:off x="7215955" y="2224360"/>
              <a:ext cx="1896642" cy="297100"/>
            </a:xfrm>
            <a:prstGeom prst="rect">
              <a:avLst/>
            </a:prstGeom>
            <a:solidFill>
              <a:schemeClr val="bg1"/>
            </a:solidFill>
          </p:spPr>
          <p:txBody>
            <a:bodyPr wrap="none" lIns="0" tIns="0" rIns="0" bIns="0" rtlCol="0">
              <a:noAutofit/>
            </a:bodyPr>
            <a:lstStyle/>
            <a:p>
              <a:r>
                <a:rPr lang="en-US" sz="1200" b="1" dirty="0">
                  <a:solidFill>
                    <a:srgbClr val="007038"/>
                  </a:solidFill>
                </a:rPr>
                <a:t>Darolutamide + ADT + Docetaxel</a:t>
              </a:r>
            </a:p>
            <a:p>
              <a:r>
                <a:rPr lang="en-US" sz="1200" dirty="0">
                  <a:solidFill>
                    <a:srgbClr val="007038"/>
                  </a:solidFill>
                </a:rPr>
                <a:t>Median NE (95% CI, NE-NE)</a:t>
              </a:r>
            </a:p>
          </p:txBody>
        </p:sp>
        <p:sp>
          <p:nvSpPr>
            <p:cNvPr id="35" name="!!Rectangle 23">
              <a:extLst>
                <a:ext uri="{FF2B5EF4-FFF2-40B4-BE49-F238E27FC236}">
                  <a16:creationId xmlns:a16="http://schemas.microsoft.com/office/drawing/2014/main" id="{3B6607E5-E384-4DC6-A599-0D60F8F27E93}"/>
                </a:ext>
              </a:extLst>
            </p:cNvPr>
            <p:cNvSpPr/>
            <p:nvPr/>
          </p:nvSpPr>
          <p:spPr bwMode="gray">
            <a:xfrm>
              <a:off x="3478470" y="4547989"/>
              <a:ext cx="1712160" cy="5905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HR: 0.26 </a:t>
              </a:r>
            </a:p>
            <a:p>
              <a:pPr algn="ctr"/>
              <a:r>
                <a:rPr lang="en-US" sz="1200" dirty="0">
                  <a:solidFill>
                    <a:schemeClr val="tx1"/>
                  </a:solidFill>
                </a:rPr>
                <a:t>(95% CI, 0.21-0.31)</a:t>
              </a:r>
            </a:p>
            <a:p>
              <a:pPr algn="ctr"/>
              <a:r>
                <a:rPr lang="en-US" sz="1200" dirty="0">
                  <a:solidFill>
                    <a:schemeClr val="tx1"/>
                  </a:solidFill>
                </a:rPr>
                <a:t>P&lt;0.0001</a:t>
              </a:r>
            </a:p>
          </p:txBody>
        </p:sp>
        <p:sp>
          <p:nvSpPr>
            <p:cNvPr id="37" name="Freeform: Shape 36">
              <a:extLst>
                <a:ext uri="{FF2B5EF4-FFF2-40B4-BE49-F238E27FC236}">
                  <a16:creationId xmlns:a16="http://schemas.microsoft.com/office/drawing/2014/main" id="{9908B466-7870-4198-91FE-D4DF612612A7}"/>
                </a:ext>
              </a:extLst>
            </p:cNvPr>
            <p:cNvSpPr/>
            <p:nvPr/>
          </p:nvSpPr>
          <p:spPr bwMode="gray">
            <a:xfrm>
              <a:off x="3451438" y="2067969"/>
              <a:ext cx="6158409" cy="3113003"/>
            </a:xfrm>
            <a:custGeom>
              <a:avLst/>
              <a:gdLst>
                <a:gd name="connsiteX0" fmla="*/ 0 w 6216072"/>
                <a:gd name="connsiteY0" fmla="*/ 0 h 2927928"/>
                <a:gd name="connsiteX1" fmla="*/ 0 w 6216072"/>
                <a:gd name="connsiteY1" fmla="*/ 2927928 h 2927928"/>
                <a:gd name="connsiteX2" fmla="*/ 6216072 w 6216072"/>
                <a:gd name="connsiteY2" fmla="*/ 2927928 h 2927928"/>
              </a:gdLst>
              <a:ahLst/>
              <a:cxnLst>
                <a:cxn ang="0">
                  <a:pos x="connsiteX0" y="connsiteY0"/>
                </a:cxn>
                <a:cxn ang="0">
                  <a:pos x="connsiteX1" y="connsiteY1"/>
                </a:cxn>
                <a:cxn ang="0">
                  <a:pos x="connsiteX2" y="connsiteY2"/>
                </a:cxn>
              </a:cxnLst>
              <a:rect l="l" t="t" r="r" b="b"/>
              <a:pathLst>
                <a:path w="6216072" h="2927928">
                  <a:moveTo>
                    <a:pt x="0" y="0"/>
                  </a:moveTo>
                  <a:lnTo>
                    <a:pt x="0" y="2927928"/>
                  </a:lnTo>
                  <a:lnTo>
                    <a:pt x="6216072" y="2927928"/>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8" name="Straight Connector 37">
              <a:extLst>
                <a:ext uri="{FF2B5EF4-FFF2-40B4-BE49-F238E27FC236}">
                  <a16:creationId xmlns:a16="http://schemas.microsoft.com/office/drawing/2014/main" id="{795958A2-F7DA-4F0C-8E88-F4D3E81BD6A8}"/>
                </a:ext>
              </a:extLst>
            </p:cNvPr>
            <p:cNvCxnSpPr/>
            <p:nvPr/>
          </p:nvCxnSpPr>
          <p:spPr bwMode="gray">
            <a:xfrm>
              <a:off x="9165815"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72AE280C-BB0F-4EFA-BE35-F8B9B492083F}"/>
                </a:ext>
              </a:extLst>
            </p:cNvPr>
            <p:cNvSpPr txBox="1"/>
            <p:nvPr/>
          </p:nvSpPr>
          <p:spPr bwMode="gray">
            <a:xfrm>
              <a:off x="9074953" y="5272248"/>
              <a:ext cx="181725" cy="197498"/>
            </a:xfrm>
            <a:prstGeom prst="rect">
              <a:avLst/>
            </a:prstGeom>
            <a:noFill/>
          </p:spPr>
          <p:txBody>
            <a:bodyPr wrap="none" lIns="0" tIns="0" rIns="0" bIns="0" rtlCol="0" anchor="ctr">
              <a:spAutoFit/>
            </a:bodyPr>
            <a:lstStyle/>
            <a:p>
              <a:pPr algn="ctr"/>
              <a:r>
                <a:rPr lang="en-US" sz="1200" dirty="0"/>
                <a:t>54</a:t>
              </a:r>
            </a:p>
          </p:txBody>
        </p:sp>
        <p:sp>
          <p:nvSpPr>
            <p:cNvPr id="40" name="TextBox 39">
              <a:extLst>
                <a:ext uri="{FF2B5EF4-FFF2-40B4-BE49-F238E27FC236}">
                  <a16:creationId xmlns:a16="http://schemas.microsoft.com/office/drawing/2014/main" id="{371F75D7-B421-43C1-986A-DB0F313F5F49}"/>
                </a:ext>
              </a:extLst>
            </p:cNvPr>
            <p:cNvSpPr txBox="1"/>
            <p:nvPr/>
          </p:nvSpPr>
          <p:spPr bwMode="gray">
            <a:xfrm>
              <a:off x="9128099" y="5901641"/>
              <a:ext cx="75433" cy="164582"/>
            </a:xfrm>
            <a:prstGeom prst="rect">
              <a:avLst/>
            </a:prstGeom>
            <a:noFill/>
          </p:spPr>
          <p:txBody>
            <a:bodyPr wrap="none" lIns="0" tIns="0" rIns="0" bIns="0" rtlCol="0" anchor="ctr">
              <a:spAutoFit/>
            </a:bodyPr>
            <a:lstStyle/>
            <a:p>
              <a:pPr algn="ctr"/>
              <a:r>
                <a:rPr lang="en-US" sz="1000" dirty="0"/>
                <a:t>5</a:t>
              </a:r>
            </a:p>
          </p:txBody>
        </p:sp>
        <p:cxnSp>
          <p:nvCxnSpPr>
            <p:cNvPr id="41" name="Straight Connector 40">
              <a:extLst>
                <a:ext uri="{FF2B5EF4-FFF2-40B4-BE49-F238E27FC236}">
                  <a16:creationId xmlns:a16="http://schemas.microsoft.com/office/drawing/2014/main" id="{7D069731-5F1F-42C4-A087-635A7241514E}"/>
                </a:ext>
              </a:extLst>
            </p:cNvPr>
            <p:cNvCxnSpPr/>
            <p:nvPr/>
          </p:nvCxnSpPr>
          <p:spPr bwMode="gray">
            <a:xfrm>
              <a:off x="9479189"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6ECE5E7-18FE-4D99-87AF-59B2DB14832A}"/>
                </a:ext>
              </a:extLst>
            </p:cNvPr>
            <p:cNvSpPr txBox="1"/>
            <p:nvPr/>
          </p:nvSpPr>
          <p:spPr bwMode="gray">
            <a:xfrm>
              <a:off x="9388326" y="5272248"/>
              <a:ext cx="181725" cy="197498"/>
            </a:xfrm>
            <a:prstGeom prst="rect">
              <a:avLst/>
            </a:prstGeom>
            <a:noFill/>
          </p:spPr>
          <p:txBody>
            <a:bodyPr wrap="none" lIns="0" tIns="0" rIns="0" bIns="0" rtlCol="0" anchor="ctr">
              <a:spAutoFit/>
            </a:bodyPr>
            <a:lstStyle/>
            <a:p>
              <a:pPr algn="ctr"/>
              <a:r>
                <a:rPr lang="en-US" sz="1200" dirty="0"/>
                <a:t>57</a:t>
              </a:r>
            </a:p>
          </p:txBody>
        </p:sp>
        <p:sp>
          <p:nvSpPr>
            <p:cNvPr id="43" name="TextBox 42">
              <a:extLst>
                <a:ext uri="{FF2B5EF4-FFF2-40B4-BE49-F238E27FC236}">
                  <a16:creationId xmlns:a16="http://schemas.microsoft.com/office/drawing/2014/main" id="{9F49B18A-4BD8-4584-B56B-B6F56D362D71}"/>
                </a:ext>
              </a:extLst>
            </p:cNvPr>
            <p:cNvSpPr txBox="1"/>
            <p:nvPr/>
          </p:nvSpPr>
          <p:spPr bwMode="gray">
            <a:xfrm>
              <a:off x="9441472" y="5901641"/>
              <a:ext cx="75433" cy="164582"/>
            </a:xfrm>
            <a:prstGeom prst="rect">
              <a:avLst/>
            </a:prstGeom>
            <a:noFill/>
          </p:spPr>
          <p:txBody>
            <a:bodyPr wrap="none" lIns="0" tIns="0" rIns="0" bIns="0" rtlCol="0" anchor="ctr">
              <a:spAutoFit/>
            </a:bodyPr>
            <a:lstStyle/>
            <a:p>
              <a:pPr algn="ctr"/>
              <a:r>
                <a:rPr lang="en-US" sz="1000" dirty="0"/>
                <a:t>0</a:t>
              </a:r>
            </a:p>
          </p:txBody>
        </p:sp>
        <p:cxnSp>
          <p:nvCxnSpPr>
            <p:cNvPr id="44" name="Straight Connector 43">
              <a:extLst>
                <a:ext uri="{FF2B5EF4-FFF2-40B4-BE49-F238E27FC236}">
                  <a16:creationId xmlns:a16="http://schemas.microsoft.com/office/drawing/2014/main" id="{0F721A7A-430F-4A5B-86F9-FA2FDE1AF672}"/>
                </a:ext>
              </a:extLst>
            </p:cNvPr>
            <p:cNvCxnSpPr/>
            <p:nvPr/>
          </p:nvCxnSpPr>
          <p:spPr bwMode="gray">
            <a:xfrm>
              <a:off x="8536039"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2ECBC1D4-7D22-4EFF-A61D-6A4BE2F5CC8F}"/>
                </a:ext>
              </a:extLst>
            </p:cNvPr>
            <p:cNvSpPr txBox="1"/>
            <p:nvPr/>
          </p:nvSpPr>
          <p:spPr bwMode="gray">
            <a:xfrm>
              <a:off x="8445176" y="5272248"/>
              <a:ext cx="181725" cy="197498"/>
            </a:xfrm>
            <a:prstGeom prst="rect">
              <a:avLst/>
            </a:prstGeom>
            <a:noFill/>
          </p:spPr>
          <p:txBody>
            <a:bodyPr wrap="none" lIns="0" tIns="0" rIns="0" bIns="0" rtlCol="0" anchor="ctr">
              <a:spAutoFit/>
            </a:bodyPr>
            <a:lstStyle/>
            <a:p>
              <a:pPr algn="ctr"/>
              <a:r>
                <a:rPr lang="en-US" sz="1200" dirty="0"/>
                <a:t>48</a:t>
              </a:r>
            </a:p>
          </p:txBody>
        </p:sp>
        <p:sp>
          <p:nvSpPr>
            <p:cNvPr id="46" name="TextBox 45">
              <a:extLst>
                <a:ext uri="{FF2B5EF4-FFF2-40B4-BE49-F238E27FC236}">
                  <a16:creationId xmlns:a16="http://schemas.microsoft.com/office/drawing/2014/main" id="{77DC1182-E340-4788-8129-9B89C58D1286}"/>
                </a:ext>
              </a:extLst>
            </p:cNvPr>
            <p:cNvSpPr txBox="1"/>
            <p:nvPr/>
          </p:nvSpPr>
          <p:spPr bwMode="gray">
            <a:xfrm>
              <a:off x="8460606" y="5901641"/>
              <a:ext cx="150866" cy="164582"/>
            </a:xfrm>
            <a:prstGeom prst="rect">
              <a:avLst/>
            </a:prstGeom>
            <a:noFill/>
          </p:spPr>
          <p:txBody>
            <a:bodyPr wrap="none" lIns="0" tIns="0" rIns="0" bIns="0" rtlCol="0" anchor="ctr">
              <a:spAutoFit/>
            </a:bodyPr>
            <a:lstStyle/>
            <a:p>
              <a:pPr algn="ctr"/>
              <a:r>
                <a:rPr lang="en-US" sz="1000" dirty="0"/>
                <a:t>55</a:t>
              </a:r>
            </a:p>
          </p:txBody>
        </p:sp>
        <p:cxnSp>
          <p:nvCxnSpPr>
            <p:cNvPr id="47" name="Straight Connector 46">
              <a:extLst>
                <a:ext uri="{FF2B5EF4-FFF2-40B4-BE49-F238E27FC236}">
                  <a16:creationId xmlns:a16="http://schemas.microsoft.com/office/drawing/2014/main" id="{1B055077-010C-4AD3-9C63-07BC3AF12019}"/>
                </a:ext>
              </a:extLst>
            </p:cNvPr>
            <p:cNvCxnSpPr/>
            <p:nvPr/>
          </p:nvCxnSpPr>
          <p:spPr bwMode="gray">
            <a:xfrm>
              <a:off x="8849412"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78E9187C-4CC8-4B10-8FEC-89848088E965}"/>
                </a:ext>
              </a:extLst>
            </p:cNvPr>
            <p:cNvSpPr txBox="1"/>
            <p:nvPr/>
          </p:nvSpPr>
          <p:spPr bwMode="gray">
            <a:xfrm>
              <a:off x="8758550" y="5272248"/>
              <a:ext cx="181725" cy="197498"/>
            </a:xfrm>
            <a:prstGeom prst="rect">
              <a:avLst/>
            </a:prstGeom>
            <a:noFill/>
          </p:spPr>
          <p:txBody>
            <a:bodyPr wrap="none" lIns="0" tIns="0" rIns="0" bIns="0" rtlCol="0" anchor="ctr">
              <a:spAutoFit/>
            </a:bodyPr>
            <a:lstStyle/>
            <a:p>
              <a:pPr algn="ctr"/>
              <a:r>
                <a:rPr lang="en-US" sz="1200" dirty="0"/>
                <a:t>51</a:t>
              </a:r>
            </a:p>
          </p:txBody>
        </p:sp>
        <p:sp>
          <p:nvSpPr>
            <p:cNvPr id="49" name="TextBox 48">
              <a:extLst>
                <a:ext uri="{FF2B5EF4-FFF2-40B4-BE49-F238E27FC236}">
                  <a16:creationId xmlns:a16="http://schemas.microsoft.com/office/drawing/2014/main" id="{F62BFCBC-4E93-4023-A108-922BF698EBD8}"/>
                </a:ext>
              </a:extLst>
            </p:cNvPr>
            <p:cNvSpPr txBox="1"/>
            <p:nvPr/>
          </p:nvSpPr>
          <p:spPr bwMode="gray">
            <a:xfrm>
              <a:off x="8773979" y="5901641"/>
              <a:ext cx="150866" cy="164582"/>
            </a:xfrm>
            <a:prstGeom prst="rect">
              <a:avLst/>
            </a:prstGeom>
            <a:noFill/>
          </p:spPr>
          <p:txBody>
            <a:bodyPr wrap="none" lIns="0" tIns="0" rIns="0" bIns="0" rtlCol="0" anchor="ctr">
              <a:spAutoFit/>
            </a:bodyPr>
            <a:lstStyle/>
            <a:p>
              <a:pPr algn="ctr"/>
              <a:r>
                <a:rPr lang="en-US" sz="1000" dirty="0"/>
                <a:t>17</a:t>
              </a:r>
            </a:p>
          </p:txBody>
        </p:sp>
        <p:cxnSp>
          <p:nvCxnSpPr>
            <p:cNvPr id="50" name="Straight Connector 49">
              <a:extLst>
                <a:ext uri="{FF2B5EF4-FFF2-40B4-BE49-F238E27FC236}">
                  <a16:creationId xmlns:a16="http://schemas.microsoft.com/office/drawing/2014/main" id="{C734B6F0-1428-4D25-AEEB-4ADCA29A60FB}"/>
                </a:ext>
              </a:extLst>
            </p:cNvPr>
            <p:cNvCxnSpPr/>
            <p:nvPr/>
          </p:nvCxnSpPr>
          <p:spPr bwMode="gray">
            <a:xfrm>
              <a:off x="7916710"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1EB98AA7-C778-42EA-BB1F-83DA8A991D01}"/>
                </a:ext>
              </a:extLst>
            </p:cNvPr>
            <p:cNvSpPr txBox="1"/>
            <p:nvPr/>
          </p:nvSpPr>
          <p:spPr bwMode="gray">
            <a:xfrm>
              <a:off x="7825847" y="5272248"/>
              <a:ext cx="181725" cy="197498"/>
            </a:xfrm>
            <a:prstGeom prst="rect">
              <a:avLst/>
            </a:prstGeom>
            <a:noFill/>
          </p:spPr>
          <p:txBody>
            <a:bodyPr wrap="none" lIns="0" tIns="0" rIns="0" bIns="0" rtlCol="0" anchor="ctr">
              <a:spAutoFit/>
            </a:bodyPr>
            <a:lstStyle/>
            <a:p>
              <a:pPr algn="ctr"/>
              <a:r>
                <a:rPr lang="en-US" sz="1200" dirty="0"/>
                <a:t>42</a:t>
              </a:r>
            </a:p>
          </p:txBody>
        </p:sp>
        <p:sp>
          <p:nvSpPr>
            <p:cNvPr id="52" name="TextBox 51">
              <a:extLst>
                <a:ext uri="{FF2B5EF4-FFF2-40B4-BE49-F238E27FC236}">
                  <a16:creationId xmlns:a16="http://schemas.microsoft.com/office/drawing/2014/main" id="{7EC081A0-285C-4C13-9534-636ACA1A0722}"/>
                </a:ext>
              </a:extLst>
            </p:cNvPr>
            <p:cNvSpPr txBox="1"/>
            <p:nvPr/>
          </p:nvSpPr>
          <p:spPr bwMode="gray">
            <a:xfrm>
              <a:off x="7803560" y="5901641"/>
              <a:ext cx="226300" cy="164582"/>
            </a:xfrm>
            <a:prstGeom prst="rect">
              <a:avLst/>
            </a:prstGeom>
            <a:noFill/>
          </p:spPr>
          <p:txBody>
            <a:bodyPr wrap="none" lIns="0" tIns="0" rIns="0" bIns="0" rtlCol="0" anchor="ctr">
              <a:spAutoFit/>
            </a:bodyPr>
            <a:lstStyle/>
            <a:p>
              <a:pPr algn="ctr"/>
              <a:r>
                <a:rPr lang="en-US" sz="1000" dirty="0"/>
                <a:t>214</a:t>
              </a:r>
            </a:p>
          </p:txBody>
        </p:sp>
        <p:cxnSp>
          <p:nvCxnSpPr>
            <p:cNvPr id="53" name="Straight Connector 52">
              <a:extLst>
                <a:ext uri="{FF2B5EF4-FFF2-40B4-BE49-F238E27FC236}">
                  <a16:creationId xmlns:a16="http://schemas.microsoft.com/office/drawing/2014/main" id="{50A0A309-DC3F-4ED2-9BF2-E8893174760F}"/>
                </a:ext>
              </a:extLst>
            </p:cNvPr>
            <p:cNvCxnSpPr/>
            <p:nvPr/>
          </p:nvCxnSpPr>
          <p:spPr bwMode="gray">
            <a:xfrm>
              <a:off x="8230083"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221780AB-B23F-4411-A649-097DA6E3D24C}"/>
                </a:ext>
              </a:extLst>
            </p:cNvPr>
            <p:cNvSpPr txBox="1"/>
            <p:nvPr/>
          </p:nvSpPr>
          <p:spPr bwMode="gray">
            <a:xfrm>
              <a:off x="8139220" y="5272248"/>
              <a:ext cx="181725" cy="197498"/>
            </a:xfrm>
            <a:prstGeom prst="rect">
              <a:avLst/>
            </a:prstGeom>
            <a:noFill/>
          </p:spPr>
          <p:txBody>
            <a:bodyPr wrap="none" lIns="0" tIns="0" rIns="0" bIns="0" rtlCol="0" anchor="ctr">
              <a:spAutoFit/>
            </a:bodyPr>
            <a:lstStyle/>
            <a:p>
              <a:pPr algn="ctr"/>
              <a:r>
                <a:rPr lang="en-US" sz="1200" dirty="0"/>
                <a:t>45</a:t>
              </a:r>
            </a:p>
          </p:txBody>
        </p:sp>
        <p:sp>
          <p:nvSpPr>
            <p:cNvPr id="55" name="TextBox 54">
              <a:extLst>
                <a:ext uri="{FF2B5EF4-FFF2-40B4-BE49-F238E27FC236}">
                  <a16:creationId xmlns:a16="http://schemas.microsoft.com/office/drawing/2014/main" id="{C2FADE45-3C04-448C-B777-5B6D76C4F20B}"/>
                </a:ext>
              </a:extLst>
            </p:cNvPr>
            <p:cNvSpPr txBox="1"/>
            <p:nvPr/>
          </p:nvSpPr>
          <p:spPr bwMode="gray">
            <a:xfrm>
              <a:off x="8116933" y="5901641"/>
              <a:ext cx="226300" cy="164582"/>
            </a:xfrm>
            <a:prstGeom prst="rect">
              <a:avLst/>
            </a:prstGeom>
            <a:noFill/>
          </p:spPr>
          <p:txBody>
            <a:bodyPr wrap="none" lIns="0" tIns="0" rIns="0" bIns="0" rtlCol="0" anchor="ctr">
              <a:spAutoFit/>
            </a:bodyPr>
            <a:lstStyle/>
            <a:p>
              <a:pPr algn="ctr"/>
              <a:r>
                <a:rPr lang="en-US" sz="1000" dirty="0"/>
                <a:t>139</a:t>
              </a:r>
            </a:p>
          </p:txBody>
        </p:sp>
        <p:cxnSp>
          <p:nvCxnSpPr>
            <p:cNvPr id="56" name="Straight Connector 55">
              <a:extLst>
                <a:ext uri="{FF2B5EF4-FFF2-40B4-BE49-F238E27FC236}">
                  <a16:creationId xmlns:a16="http://schemas.microsoft.com/office/drawing/2014/main" id="{A5B1AD0B-D3B9-4A55-9605-C94911C78550}"/>
                </a:ext>
              </a:extLst>
            </p:cNvPr>
            <p:cNvCxnSpPr/>
            <p:nvPr/>
          </p:nvCxnSpPr>
          <p:spPr bwMode="gray">
            <a:xfrm>
              <a:off x="7286934"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16D5761-AD98-4856-A5B0-AD490C0E6C40}"/>
                </a:ext>
              </a:extLst>
            </p:cNvPr>
            <p:cNvSpPr txBox="1"/>
            <p:nvPr/>
          </p:nvSpPr>
          <p:spPr bwMode="gray">
            <a:xfrm>
              <a:off x="7196071" y="5272248"/>
              <a:ext cx="181725" cy="197498"/>
            </a:xfrm>
            <a:prstGeom prst="rect">
              <a:avLst/>
            </a:prstGeom>
            <a:noFill/>
          </p:spPr>
          <p:txBody>
            <a:bodyPr wrap="none" lIns="0" tIns="0" rIns="0" bIns="0" rtlCol="0" anchor="ctr">
              <a:spAutoFit/>
            </a:bodyPr>
            <a:lstStyle/>
            <a:p>
              <a:pPr algn="ctr"/>
              <a:r>
                <a:rPr lang="en-US" sz="1200" dirty="0"/>
                <a:t>36</a:t>
              </a:r>
            </a:p>
          </p:txBody>
        </p:sp>
        <p:sp>
          <p:nvSpPr>
            <p:cNvPr id="58" name="TextBox 57">
              <a:extLst>
                <a:ext uri="{FF2B5EF4-FFF2-40B4-BE49-F238E27FC236}">
                  <a16:creationId xmlns:a16="http://schemas.microsoft.com/office/drawing/2014/main" id="{91B6D111-0B3A-4604-B5D5-8FAE89C1A936}"/>
                </a:ext>
              </a:extLst>
            </p:cNvPr>
            <p:cNvSpPr txBox="1"/>
            <p:nvPr/>
          </p:nvSpPr>
          <p:spPr bwMode="gray">
            <a:xfrm>
              <a:off x="7173784" y="5901641"/>
              <a:ext cx="226300" cy="164582"/>
            </a:xfrm>
            <a:prstGeom prst="rect">
              <a:avLst/>
            </a:prstGeom>
            <a:noFill/>
          </p:spPr>
          <p:txBody>
            <a:bodyPr wrap="none" lIns="0" tIns="0" rIns="0" bIns="0" rtlCol="0" anchor="ctr">
              <a:spAutoFit/>
            </a:bodyPr>
            <a:lstStyle/>
            <a:p>
              <a:pPr algn="ctr"/>
              <a:r>
                <a:rPr lang="en-US" sz="1000" dirty="0"/>
                <a:t>319</a:t>
              </a:r>
            </a:p>
          </p:txBody>
        </p:sp>
        <p:cxnSp>
          <p:nvCxnSpPr>
            <p:cNvPr id="59" name="Straight Connector 58">
              <a:extLst>
                <a:ext uri="{FF2B5EF4-FFF2-40B4-BE49-F238E27FC236}">
                  <a16:creationId xmlns:a16="http://schemas.microsoft.com/office/drawing/2014/main" id="{835E92FF-2E3C-481A-910D-10D6F4703BF8}"/>
                </a:ext>
              </a:extLst>
            </p:cNvPr>
            <p:cNvCxnSpPr/>
            <p:nvPr/>
          </p:nvCxnSpPr>
          <p:spPr bwMode="gray">
            <a:xfrm>
              <a:off x="7600307"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C3854FEC-BDC0-4639-B497-B13BDE914BE0}"/>
                </a:ext>
              </a:extLst>
            </p:cNvPr>
            <p:cNvSpPr txBox="1"/>
            <p:nvPr/>
          </p:nvSpPr>
          <p:spPr bwMode="gray">
            <a:xfrm>
              <a:off x="7509444" y="5272248"/>
              <a:ext cx="181725" cy="197498"/>
            </a:xfrm>
            <a:prstGeom prst="rect">
              <a:avLst/>
            </a:prstGeom>
            <a:noFill/>
          </p:spPr>
          <p:txBody>
            <a:bodyPr wrap="none" lIns="0" tIns="0" rIns="0" bIns="0" rtlCol="0" anchor="ctr">
              <a:spAutoFit/>
            </a:bodyPr>
            <a:lstStyle/>
            <a:p>
              <a:pPr algn="ctr"/>
              <a:r>
                <a:rPr lang="en-US" sz="1200" dirty="0"/>
                <a:t>39</a:t>
              </a:r>
            </a:p>
          </p:txBody>
        </p:sp>
        <p:sp>
          <p:nvSpPr>
            <p:cNvPr id="61" name="TextBox 60">
              <a:extLst>
                <a:ext uri="{FF2B5EF4-FFF2-40B4-BE49-F238E27FC236}">
                  <a16:creationId xmlns:a16="http://schemas.microsoft.com/office/drawing/2014/main" id="{173FE02C-8776-40FF-96DE-F1CE187D4A02}"/>
                </a:ext>
              </a:extLst>
            </p:cNvPr>
            <p:cNvSpPr txBox="1"/>
            <p:nvPr/>
          </p:nvSpPr>
          <p:spPr bwMode="gray">
            <a:xfrm>
              <a:off x="7487157" y="5901641"/>
              <a:ext cx="226300" cy="164582"/>
            </a:xfrm>
            <a:prstGeom prst="rect">
              <a:avLst/>
            </a:prstGeom>
            <a:noFill/>
          </p:spPr>
          <p:txBody>
            <a:bodyPr wrap="none" lIns="0" tIns="0" rIns="0" bIns="0" rtlCol="0" anchor="ctr">
              <a:spAutoFit/>
            </a:bodyPr>
            <a:lstStyle/>
            <a:p>
              <a:pPr algn="ctr"/>
              <a:r>
                <a:rPr lang="en-US" sz="1000" dirty="0"/>
                <a:t>295</a:t>
              </a:r>
            </a:p>
          </p:txBody>
        </p:sp>
        <p:cxnSp>
          <p:nvCxnSpPr>
            <p:cNvPr id="62" name="Straight Connector 61">
              <a:extLst>
                <a:ext uri="{FF2B5EF4-FFF2-40B4-BE49-F238E27FC236}">
                  <a16:creationId xmlns:a16="http://schemas.microsoft.com/office/drawing/2014/main" id="{25BE4856-D60D-4D15-8C5D-BA9110DB5F41}"/>
                </a:ext>
              </a:extLst>
            </p:cNvPr>
            <p:cNvCxnSpPr/>
            <p:nvPr/>
          </p:nvCxnSpPr>
          <p:spPr bwMode="gray">
            <a:xfrm>
              <a:off x="6683034"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46417591-5448-46C7-B09F-5388D037FC55}"/>
                </a:ext>
              </a:extLst>
            </p:cNvPr>
            <p:cNvSpPr txBox="1"/>
            <p:nvPr/>
          </p:nvSpPr>
          <p:spPr bwMode="gray">
            <a:xfrm>
              <a:off x="6592171" y="5272248"/>
              <a:ext cx="181725" cy="197498"/>
            </a:xfrm>
            <a:prstGeom prst="rect">
              <a:avLst/>
            </a:prstGeom>
            <a:noFill/>
          </p:spPr>
          <p:txBody>
            <a:bodyPr wrap="none" lIns="0" tIns="0" rIns="0" bIns="0" rtlCol="0" anchor="ctr">
              <a:spAutoFit/>
            </a:bodyPr>
            <a:lstStyle/>
            <a:p>
              <a:pPr algn="ctr"/>
              <a:r>
                <a:rPr lang="en-US" sz="1200" dirty="0"/>
                <a:t>30</a:t>
              </a:r>
            </a:p>
          </p:txBody>
        </p:sp>
        <p:sp>
          <p:nvSpPr>
            <p:cNvPr id="64" name="TextBox 63">
              <a:extLst>
                <a:ext uri="{FF2B5EF4-FFF2-40B4-BE49-F238E27FC236}">
                  <a16:creationId xmlns:a16="http://schemas.microsoft.com/office/drawing/2014/main" id="{47AD7200-86D9-47F0-AB0B-D7DB1BA132AF}"/>
                </a:ext>
              </a:extLst>
            </p:cNvPr>
            <p:cNvSpPr txBox="1"/>
            <p:nvPr/>
          </p:nvSpPr>
          <p:spPr bwMode="gray">
            <a:xfrm>
              <a:off x="6569884" y="5901641"/>
              <a:ext cx="226300" cy="164582"/>
            </a:xfrm>
            <a:prstGeom prst="rect">
              <a:avLst/>
            </a:prstGeom>
            <a:noFill/>
          </p:spPr>
          <p:txBody>
            <a:bodyPr wrap="none" lIns="0" tIns="0" rIns="0" bIns="0" rtlCol="0" anchor="ctr">
              <a:spAutoFit/>
            </a:bodyPr>
            <a:lstStyle/>
            <a:p>
              <a:pPr algn="ctr"/>
              <a:r>
                <a:rPr lang="en-US" sz="1000" dirty="0"/>
                <a:t>358</a:t>
              </a:r>
            </a:p>
          </p:txBody>
        </p:sp>
        <p:cxnSp>
          <p:nvCxnSpPr>
            <p:cNvPr id="65" name="Straight Connector 64">
              <a:extLst>
                <a:ext uri="{FF2B5EF4-FFF2-40B4-BE49-F238E27FC236}">
                  <a16:creationId xmlns:a16="http://schemas.microsoft.com/office/drawing/2014/main" id="{747E19B1-E219-4D40-9A7D-F5BCD4A107C3}"/>
                </a:ext>
              </a:extLst>
            </p:cNvPr>
            <p:cNvCxnSpPr/>
            <p:nvPr/>
          </p:nvCxnSpPr>
          <p:spPr bwMode="gray">
            <a:xfrm>
              <a:off x="6996407"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EAF108DF-964C-4442-9907-18C74606BE13}"/>
                </a:ext>
              </a:extLst>
            </p:cNvPr>
            <p:cNvSpPr txBox="1"/>
            <p:nvPr/>
          </p:nvSpPr>
          <p:spPr bwMode="gray">
            <a:xfrm>
              <a:off x="6905544" y="5272248"/>
              <a:ext cx="181725" cy="197498"/>
            </a:xfrm>
            <a:prstGeom prst="rect">
              <a:avLst/>
            </a:prstGeom>
            <a:noFill/>
          </p:spPr>
          <p:txBody>
            <a:bodyPr wrap="none" lIns="0" tIns="0" rIns="0" bIns="0" rtlCol="0" anchor="ctr">
              <a:spAutoFit/>
            </a:bodyPr>
            <a:lstStyle/>
            <a:p>
              <a:pPr algn="ctr"/>
              <a:r>
                <a:rPr lang="en-US" sz="1200" dirty="0"/>
                <a:t>33</a:t>
              </a:r>
            </a:p>
          </p:txBody>
        </p:sp>
        <p:sp>
          <p:nvSpPr>
            <p:cNvPr id="67" name="TextBox 66">
              <a:extLst>
                <a:ext uri="{FF2B5EF4-FFF2-40B4-BE49-F238E27FC236}">
                  <a16:creationId xmlns:a16="http://schemas.microsoft.com/office/drawing/2014/main" id="{A5840408-E7D3-410F-8E39-0FAA7893CA6F}"/>
                </a:ext>
              </a:extLst>
            </p:cNvPr>
            <p:cNvSpPr txBox="1"/>
            <p:nvPr/>
          </p:nvSpPr>
          <p:spPr bwMode="gray">
            <a:xfrm>
              <a:off x="6883257" y="5901641"/>
              <a:ext cx="226300" cy="164582"/>
            </a:xfrm>
            <a:prstGeom prst="rect">
              <a:avLst/>
            </a:prstGeom>
            <a:noFill/>
          </p:spPr>
          <p:txBody>
            <a:bodyPr wrap="none" lIns="0" tIns="0" rIns="0" bIns="0" rtlCol="0" anchor="ctr">
              <a:spAutoFit/>
            </a:bodyPr>
            <a:lstStyle/>
            <a:p>
              <a:pPr algn="ctr"/>
              <a:r>
                <a:rPr lang="en-US" sz="1000" dirty="0"/>
                <a:t>339</a:t>
              </a:r>
            </a:p>
          </p:txBody>
        </p:sp>
        <p:cxnSp>
          <p:nvCxnSpPr>
            <p:cNvPr id="68" name="Straight Connector 67">
              <a:extLst>
                <a:ext uri="{FF2B5EF4-FFF2-40B4-BE49-F238E27FC236}">
                  <a16:creationId xmlns:a16="http://schemas.microsoft.com/office/drawing/2014/main" id="{06DC476B-FF23-45A2-BC84-5F56D387D5D7}"/>
                </a:ext>
              </a:extLst>
            </p:cNvPr>
            <p:cNvCxnSpPr/>
            <p:nvPr/>
          </p:nvCxnSpPr>
          <p:spPr bwMode="gray">
            <a:xfrm>
              <a:off x="6053257"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441B84AA-DCEF-45B0-8EED-3F3777563310}"/>
                </a:ext>
              </a:extLst>
            </p:cNvPr>
            <p:cNvSpPr txBox="1"/>
            <p:nvPr/>
          </p:nvSpPr>
          <p:spPr bwMode="gray">
            <a:xfrm>
              <a:off x="5962395" y="5272248"/>
              <a:ext cx="181725" cy="197498"/>
            </a:xfrm>
            <a:prstGeom prst="rect">
              <a:avLst/>
            </a:prstGeom>
            <a:noFill/>
          </p:spPr>
          <p:txBody>
            <a:bodyPr wrap="none" lIns="0" tIns="0" rIns="0" bIns="0" rtlCol="0" anchor="ctr">
              <a:spAutoFit/>
            </a:bodyPr>
            <a:lstStyle/>
            <a:p>
              <a:pPr algn="ctr"/>
              <a:r>
                <a:rPr lang="en-US" sz="1200" dirty="0"/>
                <a:t>24</a:t>
              </a:r>
            </a:p>
          </p:txBody>
        </p:sp>
        <p:sp>
          <p:nvSpPr>
            <p:cNvPr id="70" name="TextBox 69">
              <a:extLst>
                <a:ext uri="{FF2B5EF4-FFF2-40B4-BE49-F238E27FC236}">
                  <a16:creationId xmlns:a16="http://schemas.microsoft.com/office/drawing/2014/main" id="{9A70F96E-6B72-4290-AA2F-FF96FD5182D0}"/>
                </a:ext>
              </a:extLst>
            </p:cNvPr>
            <p:cNvSpPr txBox="1"/>
            <p:nvPr/>
          </p:nvSpPr>
          <p:spPr bwMode="gray">
            <a:xfrm>
              <a:off x="5940108" y="5901641"/>
              <a:ext cx="226300" cy="164582"/>
            </a:xfrm>
            <a:prstGeom prst="rect">
              <a:avLst/>
            </a:prstGeom>
            <a:noFill/>
          </p:spPr>
          <p:txBody>
            <a:bodyPr wrap="none" lIns="0" tIns="0" rIns="0" bIns="0" rtlCol="0" anchor="ctr">
              <a:spAutoFit/>
            </a:bodyPr>
            <a:lstStyle/>
            <a:p>
              <a:pPr algn="ctr"/>
              <a:r>
                <a:rPr lang="en-US" sz="1000" dirty="0"/>
                <a:t>393</a:t>
              </a:r>
            </a:p>
          </p:txBody>
        </p:sp>
        <p:cxnSp>
          <p:nvCxnSpPr>
            <p:cNvPr id="71" name="Straight Connector 70">
              <a:extLst>
                <a:ext uri="{FF2B5EF4-FFF2-40B4-BE49-F238E27FC236}">
                  <a16:creationId xmlns:a16="http://schemas.microsoft.com/office/drawing/2014/main" id="{3A78F5A8-9182-4D87-81A1-C95CC1681BBA}"/>
                </a:ext>
              </a:extLst>
            </p:cNvPr>
            <p:cNvCxnSpPr/>
            <p:nvPr/>
          </p:nvCxnSpPr>
          <p:spPr bwMode="gray">
            <a:xfrm>
              <a:off x="6366631"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D3B5A3EE-50BC-42B0-AACC-1A429BDCD47C}"/>
                </a:ext>
              </a:extLst>
            </p:cNvPr>
            <p:cNvSpPr txBox="1"/>
            <p:nvPr/>
          </p:nvSpPr>
          <p:spPr bwMode="gray">
            <a:xfrm>
              <a:off x="6275768" y="5272248"/>
              <a:ext cx="181725" cy="197498"/>
            </a:xfrm>
            <a:prstGeom prst="rect">
              <a:avLst/>
            </a:prstGeom>
            <a:noFill/>
          </p:spPr>
          <p:txBody>
            <a:bodyPr wrap="none" lIns="0" tIns="0" rIns="0" bIns="0" rtlCol="0" anchor="ctr">
              <a:spAutoFit/>
            </a:bodyPr>
            <a:lstStyle/>
            <a:p>
              <a:pPr algn="ctr"/>
              <a:r>
                <a:rPr lang="en-US" sz="1200" dirty="0"/>
                <a:t>27</a:t>
              </a:r>
            </a:p>
          </p:txBody>
        </p:sp>
        <p:sp>
          <p:nvSpPr>
            <p:cNvPr id="73" name="TextBox 72">
              <a:extLst>
                <a:ext uri="{FF2B5EF4-FFF2-40B4-BE49-F238E27FC236}">
                  <a16:creationId xmlns:a16="http://schemas.microsoft.com/office/drawing/2014/main" id="{BE211E3C-340D-4FD5-A331-E6C141E375D5}"/>
                </a:ext>
              </a:extLst>
            </p:cNvPr>
            <p:cNvSpPr txBox="1"/>
            <p:nvPr/>
          </p:nvSpPr>
          <p:spPr bwMode="gray">
            <a:xfrm>
              <a:off x="6253481" y="5901641"/>
              <a:ext cx="226300" cy="164582"/>
            </a:xfrm>
            <a:prstGeom prst="rect">
              <a:avLst/>
            </a:prstGeom>
            <a:noFill/>
          </p:spPr>
          <p:txBody>
            <a:bodyPr wrap="none" lIns="0" tIns="0" rIns="0" bIns="0" rtlCol="0" anchor="ctr">
              <a:spAutoFit/>
            </a:bodyPr>
            <a:lstStyle/>
            <a:p>
              <a:pPr algn="ctr"/>
              <a:r>
                <a:rPr lang="en-US" sz="1000" dirty="0"/>
                <a:t>373</a:t>
              </a:r>
            </a:p>
          </p:txBody>
        </p:sp>
        <p:cxnSp>
          <p:nvCxnSpPr>
            <p:cNvPr id="74" name="Straight Connector 73">
              <a:extLst>
                <a:ext uri="{FF2B5EF4-FFF2-40B4-BE49-F238E27FC236}">
                  <a16:creationId xmlns:a16="http://schemas.microsoft.com/office/drawing/2014/main" id="{CBAC4ACB-D901-494B-BEE0-CAB9DD296962}"/>
                </a:ext>
              </a:extLst>
            </p:cNvPr>
            <p:cNvCxnSpPr/>
            <p:nvPr/>
          </p:nvCxnSpPr>
          <p:spPr bwMode="gray">
            <a:xfrm>
              <a:off x="5433928"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66800235-A010-424F-9750-AD6509E9ADF7}"/>
                </a:ext>
              </a:extLst>
            </p:cNvPr>
            <p:cNvSpPr txBox="1"/>
            <p:nvPr/>
          </p:nvSpPr>
          <p:spPr bwMode="gray">
            <a:xfrm>
              <a:off x="5343065" y="5272248"/>
              <a:ext cx="181725" cy="197498"/>
            </a:xfrm>
            <a:prstGeom prst="rect">
              <a:avLst/>
            </a:prstGeom>
            <a:noFill/>
          </p:spPr>
          <p:txBody>
            <a:bodyPr wrap="none" lIns="0" tIns="0" rIns="0" bIns="0" rtlCol="0" anchor="ctr">
              <a:spAutoFit/>
            </a:bodyPr>
            <a:lstStyle/>
            <a:p>
              <a:pPr algn="ctr"/>
              <a:r>
                <a:rPr lang="en-US" sz="1200" dirty="0"/>
                <a:t>18</a:t>
              </a:r>
            </a:p>
          </p:txBody>
        </p:sp>
        <p:sp>
          <p:nvSpPr>
            <p:cNvPr id="76" name="TextBox 75">
              <a:extLst>
                <a:ext uri="{FF2B5EF4-FFF2-40B4-BE49-F238E27FC236}">
                  <a16:creationId xmlns:a16="http://schemas.microsoft.com/office/drawing/2014/main" id="{D8962C99-7F7F-4EB3-BFA6-1C1EBA04C405}"/>
                </a:ext>
              </a:extLst>
            </p:cNvPr>
            <p:cNvSpPr txBox="1"/>
            <p:nvPr/>
          </p:nvSpPr>
          <p:spPr bwMode="gray">
            <a:xfrm>
              <a:off x="5320778" y="5901641"/>
              <a:ext cx="226300" cy="164582"/>
            </a:xfrm>
            <a:prstGeom prst="rect">
              <a:avLst/>
            </a:prstGeom>
            <a:noFill/>
          </p:spPr>
          <p:txBody>
            <a:bodyPr wrap="none" lIns="0" tIns="0" rIns="0" bIns="0" rtlCol="0" anchor="ctr">
              <a:spAutoFit/>
            </a:bodyPr>
            <a:lstStyle/>
            <a:p>
              <a:pPr algn="ctr"/>
              <a:r>
                <a:rPr lang="en-US" sz="1000" dirty="0"/>
                <a:t>449</a:t>
              </a:r>
            </a:p>
          </p:txBody>
        </p:sp>
        <p:cxnSp>
          <p:nvCxnSpPr>
            <p:cNvPr id="77" name="Straight Connector 76">
              <a:extLst>
                <a:ext uri="{FF2B5EF4-FFF2-40B4-BE49-F238E27FC236}">
                  <a16:creationId xmlns:a16="http://schemas.microsoft.com/office/drawing/2014/main" id="{CE2BC85F-999A-4355-8F5D-0932210B683E}"/>
                </a:ext>
              </a:extLst>
            </p:cNvPr>
            <p:cNvCxnSpPr/>
            <p:nvPr/>
          </p:nvCxnSpPr>
          <p:spPr bwMode="gray">
            <a:xfrm>
              <a:off x="5747301"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06043CAE-DF7F-405E-9004-BA46AF6F8D94}"/>
                </a:ext>
              </a:extLst>
            </p:cNvPr>
            <p:cNvSpPr txBox="1"/>
            <p:nvPr/>
          </p:nvSpPr>
          <p:spPr bwMode="gray">
            <a:xfrm>
              <a:off x="5656438" y="5272248"/>
              <a:ext cx="181725" cy="197498"/>
            </a:xfrm>
            <a:prstGeom prst="rect">
              <a:avLst/>
            </a:prstGeom>
            <a:noFill/>
          </p:spPr>
          <p:txBody>
            <a:bodyPr wrap="none" lIns="0" tIns="0" rIns="0" bIns="0" rtlCol="0" anchor="ctr">
              <a:spAutoFit/>
            </a:bodyPr>
            <a:lstStyle/>
            <a:p>
              <a:pPr algn="ctr"/>
              <a:r>
                <a:rPr lang="en-US" sz="1200" dirty="0"/>
                <a:t>21</a:t>
              </a:r>
            </a:p>
          </p:txBody>
        </p:sp>
        <p:sp>
          <p:nvSpPr>
            <p:cNvPr id="79" name="TextBox 78">
              <a:extLst>
                <a:ext uri="{FF2B5EF4-FFF2-40B4-BE49-F238E27FC236}">
                  <a16:creationId xmlns:a16="http://schemas.microsoft.com/office/drawing/2014/main" id="{EFC8A0A2-8ACD-4378-911F-021C1BFFF86B}"/>
                </a:ext>
              </a:extLst>
            </p:cNvPr>
            <p:cNvSpPr txBox="1"/>
            <p:nvPr/>
          </p:nvSpPr>
          <p:spPr bwMode="gray">
            <a:xfrm>
              <a:off x="5634151" y="5901641"/>
              <a:ext cx="226300" cy="164582"/>
            </a:xfrm>
            <a:prstGeom prst="rect">
              <a:avLst/>
            </a:prstGeom>
            <a:noFill/>
          </p:spPr>
          <p:txBody>
            <a:bodyPr wrap="none" lIns="0" tIns="0" rIns="0" bIns="0" rtlCol="0" anchor="ctr">
              <a:spAutoFit/>
            </a:bodyPr>
            <a:lstStyle/>
            <a:p>
              <a:pPr algn="ctr"/>
              <a:r>
                <a:rPr lang="en-US" sz="1000" dirty="0"/>
                <a:t>416</a:t>
              </a:r>
            </a:p>
          </p:txBody>
        </p:sp>
        <p:cxnSp>
          <p:nvCxnSpPr>
            <p:cNvPr id="80" name="Straight Connector 79">
              <a:extLst>
                <a:ext uri="{FF2B5EF4-FFF2-40B4-BE49-F238E27FC236}">
                  <a16:creationId xmlns:a16="http://schemas.microsoft.com/office/drawing/2014/main" id="{79021E4A-55F9-4C87-95B0-C859A30C492D}"/>
                </a:ext>
              </a:extLst>
            </p:cNvPr>
            <p:cNvCxnSpPr/>
            <p:nvPr/>
          </p:nvCxnSpPr>
          <p:spPr bwMode="gray">
            <a:xfrm>
              <a:off x="4804152"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FB72CE49-1894-405D-BF6F-61E0C8211B2C}"/>
                </a:ext>
              </a:extLst>
            </p:cNvPr>
            <p:cNvSpPr txBox="1"/>
            <p:nvPr/>
          </p:nvSpPr>
          <p:spPr bwMode="gray">
            <a:xfrm>
              <a:off x="4713289" y="5272248"/>
              <a:ext cx="181725" cy="197498"/>
            </a:xfrm>
            <a:prstGeom prst="rect">
              <a:avLst/>
            </a:prstGeom>
            <a:noFill/>
          </p:spPr>
          <p:txBody>
            <a:bodyPr wrap="none" lIns="0" tIns="0" rIns="0" bIns="0" rtlCol="0" anchor="ctr">
              <a:spAutoFit/>
            </a:bodyPr>
            <a:lstStyle/>
            <a:p>
              <a:pPr algn="ctr"/>
              <a:r>
                <a:rPr lang="en-US" sz="1200" dirty="0"/>
                <a:t>12</a:t>
              </a:r>
            </a:p>
          </p:txBody>
        </p:sp>
        <p:sp>
          <p:nvSpPr>
            <p:cNvPr id="82" name="TextBox 81">
              <a:extLst>
                <a:ext uri="{FF2B5EF4-FFF2-40B4-BE49-F238E27FC236}">
                  <a16:creationId xmlns:a16="http://schemas.microsoft.com/office/drawing/2014/main" id="{B275D8F4-FD1C-4B94-877F-AE096F67AD6A}"/>
                </a:ext>
              </a:extLst>
            </p:cNvPr>
            <p:cNvSpPr txBox="1"/>
            <p:nvPr/>
          </p:nvSpPr>
          <p:spPr bwMode="gray">
            <a:xfrm>
              <a:off x="4691002" y="5901641"/>
              <a:ext cx="226300" cy="164582"/>
            </a:xfrm>
            <a:prstGeom prst="rect">
              <a:avLst/>
            </a:prstGeom>
            <a:noFill/>
          </p:spPr>
          <p:txBody>
            <a:bodyPr wrap="none" lIns="0" tIns="0" rIns="0" bIns="0" rtlCol="0" anchor="ctr">
              <a:spAutoFit/>
            </a:bodyPr>
            <a:lstStyle/>
            <a:p>
              <a:pPr algn="ctr"/>
              <a:r>
                <a:rPr lang="en-US" sz="1000" dirty="0"/>
                <a:t>513</a:t>
              </a:r>
            </a:p>
          </p:txBody>
        </p:sp>
        <p:cxnSp>
          <p:nvCxnSpPr>
            <p:cNvPr id="83" name="Straight Connector 82">
              <a:extLst>
                <a:ext uri="{FF2B5EF4-FFF2-40B4-BE49-F238E27FC236}">
                  <a16:creationId xmlns:a16="http://schemas.microsoft.com/office/drawing/2014/main" id="{A5EFC42B-CDBB-48A1-8F76-D273BDC7CFA0}"/>
                </a:ext>
              </a:extLst>
            </p:cNvPr>
            <p:cNvCxnSpPr/>
            <p:nvPr/>
          </p:nvCxnSpPr>
          <p:spPr bwMode="gray">
            <a:xfrm>
              <a:off x="5117525"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721CF9AD-5D37-4B05-A796-A1663BE27092}"/>
                </a:ext>
              </a:extLst>
            </p:cNvPr>
            <p:cNvSpPr txBox="1"/>
            <p:nvPr/>
          </p:nvSpPr>
          <p:spPr bwMode="gray">
            <a:xfrm>
              <a:off x="5026662" y="5272248"/>
              <a:ext cx="181725" cy="197498"/>
            </a:xfrm>
            <a:prstGeom prst="rect">
              <a:avLst/>
            </a:prstGeom>
            <a:noFill/>
          </p:spPr>
          <p:txBody>
            <a:bodyPr wrap="none" lIns="0" tIns="0" rIns="0" bIns="0" rtlCol="0" anchor="ctr">
              <a:spAutoFit/>
            </a:bodyPr>
            <a:lstStyle/>
            <a:p>
              <a:pPr algn="ctr"/>
              <a:r>
                <a:rPr lang="en-US" sz="1200" dirty="0"/>
                <a:t>15</a:t>
              </a:r>
            </a:p>
          </p:txBody>
        </p:sp>
        <p:sp>
          <p:nvSpPr>
            <p:cNvPr id="85" name="TextBox 84">
              <a:extLst>
                <a:ext uri="{FF2B5EF4-FFF2-40B4-BE49-F238E27FC236}">
                  <a16:creationId xmlns:a16="http://schemas.microsoft.com/office/drawing/2014/main" id="{DE412C6C-DDB8-4BCF-8C76-0A2F8C9C040E}"/>
                </a:ext>
              </a:extLst>
            </p:cNvPr>
            <p:cNvSpPr txBox="1"/>
            <p:nvPr/>
          </p:nvSpPr>
          <p:spPr bwMode="gray">
            <a:xfrm>
              <a:off x="5004375" y="5901641"/>
              <a:ext cx="226300" cy="164582"/>
            </a:xfrm>
            <a:prstGeom prst="rect">
              <a:avLst/>
            </a:prstGeom>
            <a:noFill/>
          </p:spPr>
          <p:txBody>
            <a:bodyPr wrap="none" lIns="0" tIns="0" rIns="0" bIns="0" rtlCol="0" anchor="ctr">
              <a:spAutoFit/>
            </a:bodyPr>
            <a:lstStyle/>
            <a:p>
              <a:pPr algn="ctr"/>
              <a:r>
                <a:rPr lang="en-US" sz="1000" dirty="0"/>
                <a:t>477</a:t>
              </a:r>
            </a:p>
          </p:txBody>
        </p:sp>
        <p:cxnSp>
          <p:nvCxnSpPr>
            <p:cNvPr id="86" name="Straight Connector 85">
              <a:extLst>
                <a:ext uri="{FF2B5EF4-FFF2-40B4-BE49-F238E27FC236}">
                  <a16:creationId xmlns:a16="http://schemas.microsoft.com/office/drawing/2014/main" id="{5235C2D4-39EA-44C7-B14E-D6A3A7C142D8}"/>
                </a:ext>
              </a:extLst>
            </p:cNvPr>
            <p:cNvCxnSpPr/>
            <p:nvPr/>
          </p:nvCxnSpPr>
          <p:spPr bwMode="gray">
            <a:xfrm>
              <a:off x="4206862"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9DAC385F-2F77-48AC-A8CB-1F7527A70451}"/>
                </a:ext>
              </a:extLst>
            </p:cNvPr>
            <p:cNvSpPr txBox="1"/>
            <p:nvPr/>
          </p:nvSpPr>
          <p:spPr bwMode="gray">
            <a:xfrm>
              <a:off x="4161430" y="5272248"/>
              <a:ext cx="90863" cy="197498"/>
            </a:xfrm>
            <a:prstGeom prst="rect">
              <a:avLst/>
            </a:prstGeom>
            <a:noFill/>
          </p:spPr>
          <p:txBody>
            <a:bodyPr wrap="none" lIns="0" tIns="0" rIns="0" bIns="0" rtlCol="0" anchor="ctr">
              <a:spAutoFit/>
            </a:bodyPr>
            <a:lstStyle/>
            <a:p>
              <a:pPr algn="ctr"/>
              <a:r>
                <a:rPr lang="en-US" sz="1200" dirty="0"/>
                <a:t>6</a:t>
              </a:r>
            </a:p>
          </p:txBody>
        </p:sp>
        <p:sp>
          <p:nvSpPr>
            <p:cNvPr id="88" name="TextBox 87">
              <a:extLst>
                <a:ext uri="{FF2B5EF4-FFF2-40B4-BE49-F238E27FC236}">
                  <a16:creationId xmlns:a16="http://schemas.microsoft.com/office/drawing/2014/main" id="{D70F8D91-C724-492E-8E08-76D17E30D97D}"/>
                </a:ext>
              </a:extLst>
            </p:cNvPr>
            <p:cNvSpPr txBox="1"/>
            <p:nvPr/>
          </p:nvSpPr>
          <p:spPr bwMode="gray">
            <a:xfrm>
              <a:off x="4093713" y="5901641"/>
              <a:ext cx="226300" cy="164582"/>
            </a:xfrm>
            <a:prstGeom prst="rect">
              <a:avLst/>
            </a:prstGeom>
            <a:noFill/>
          </p:spPr>
          <p:txBody>
            <a:bodyPr wrap="none" lIns="0" tIns="0" rIns="0" bIns="0" rtlCol="0" anchor="ctr">
              <a:spAutoFit/>
            </a:bodyPr>
            <a:lstStyle/>
            <a:p>
              <a:pPr algn="ctr"/>
              <a:r>
                <a:rPr lang="en-US" sz="1000" dirty="0"/>
                <a:t>585</a:t>
              </a:r>
            </a:p>
          </p:txBody>
        </p:sp>
        <p:cxnSp>
          <p:nvCxnSpPr>
            <p:cNvPr id="89" name="Straight Connector 88">
              <a:extLst>
                <a:ext uri="{FF2B5EF4-FFF2-40B4-BE49-F238E27FC236}">
                  <a16:creationId xmlns:a16="http://schemas.microsoft.com/office/drawing/2014/main" id="{F88A3F55-5DCE-458C-A517-DF776A71285D}"/>
                </a:ext>
              </a:extLst>
            </p:cNvPr>
            <p:cNvCxnSpPr/>
            <p:nvPr/>
          </p:nvCxnSpPr>
          <p:spPr bwMode="gray">
            <a:xfrm>
              <a:off x="4520236"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F459D59D-0566-4F41-838E-045538D7A696}"/>
                </a:ext>
              </a:extLst>
            </p:cNvPr>
            <p:cNvSpPr txBox="1"/>
            <p:nvPr/>
          </p:nvSpPr>
          <p:spPr bwMode="gray">
            <a:xfrm>
              <a:off x="4474804" y="5272248"/>
              <a:ext cx="90863" cy="197498"/>
            </a:xfrm>
            <a:prstGeom prst="rect">
              <a:avLst/>
            </a:prstGeom>
            <a:noFill/>
          </p:spPr>
          <p:txBody>
            <a:bodyPr wrap="none" lIns="0" tIns="0" rIns="0" bIns="0" rtlCol="0" anchor="ctr">
              <a:spAutoFit/>
            </a:bodyPr>
            <a:lstStyle/>
            <a:p>
              <a:pPr algn="ctr"/>
              <a:r>
                <a:rPr lang="en-US" sz="1200" dirty="0"/>
                <a:t>9</a:t>
              </a:r>
            </a:p>
          </p:txBody>
        </p:sp>
        <p:sp>
          <p:nvSpPr>
            <p:cNvPr id="91" name="TextBox 90">
              <a:extLst>
                <a:ext uri="{FF2B5EF4-FFF2-40B4-BE49-F238E27FC236}">
                  <a16:creationId xmlns:a16="http://schemas.microsoft.com/office/drawing/2014/main" id="{92C296C7-96F2-4FF8-ADA1-7034D537872C}"/>
                </a:ext>
              </a:extLst>
            </p:cNvPr>
            <p:cNvSpPr txBox="1"/>
            <p:nvPr/>
          </p:nvSpPr>
          <p:spPr bwMode="gray">
            <a:xfrm>
              <a:off x="4407086" y="5901641"/>
              <a:ext cx="226300" cy="164582"/>
            </a:xfrm>
            <a:prstGeom prst="rect">
              <a:avLst/>
            </a:prstGeom>
            <a:noFill/>
          </p:spPr>
          <p:txBody>
            <a:bodyPr wrap="none" lIns="0" tIns="0" rIns="0" bIns="0" rtlCol="0" anchor="ctr">
              <a:spAutoFit/>
            </a:bodyPr>
            <a:lstStyle/>
            <a:p>
              <a:pPr algn="ctr"/>
              <a:r>
                <a:rPr lang="en-US" sz="1000" dirty="0"/>
                <a:t>552</a:t>
              </a:r>
            </a:p>
          </p:txBody>
        </p:sp>
        <p:cxnSp>
          <p:nvCxnSpPr>
            <p:cNvPr id="92" name="Straight Connector 91">
              <a:extLst>
                <a:ext uri="{FF2B5EF4-FFF2-40B4-BE49-F238E27FC236}">
                  <a16:creationId xmlns:a16="http://schemas.microsoft.com/office/drawing/2014/main" id="{74FB03D0-CABC-481D-ACDF-4D7886B30C83}"/>
                </a:ext>
              </a:extLst>
            </p:cNvPr>
            <p:cNvCxnSpPr/>
            <p:nvPr/>
          </p:nvCxnSpPr>
          <p:spPr bwMode="gray">
            <a:xfrm>
              <a:off x="3577086"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1EA6C8F5-3D90-490F-B852-45453BD4DC08}"/>
                </a:ext>
              </a:extLst>
            </p:cNvPr>
            <p:cNvSpPr txBox="1"/>
            <p:nvPr/>
          </p:nvSpPr>
          <p:spPr bwMode="gray">
            <a:xfrm>
              <a:off x="3531654" y="5272248"/>
              <a:ext cx="90863" cy="197498"/>
            </a:xfrm>
            <a:prstGeom prst="rect">
              <a:avLst/>
            </a:prstGeom>
            <a:noFill/>
          </p:spPr>
          <p:txBody>
            <a:bodyPr wrap="none" lIns="0" tIns="0" rIns="0" bIns="0" rtlCol="0" anchor="ctr">
              <a:spAutoFit/>
            </a:bodyPr>
            <a:lstStyle/>
            <a:p>
              <a:pPr algn="ctr"/>
              <a:r>
                <a:rPr lang="en-US" sz="1200" dirty="0"/>
                <a:t>0</a:t>
              </a:r>
            </a:p>
          </p:txBody>
        </p:sp>
        <p:sp>
          <p:nvSpPr>
            <p:cNvPr id="94" name="TextBox 93">
              <a:extLst>
                <a:ext uri="{FF2B5EF4-FFF2-40B4-BE49-F238E27FC236}">
                  <a16:creationId xmlns:a16="http://schemas.microsoft.com/office/drawing/2014/main" id="{CCEF37F8-FB95-4A73-B9C2-92019554DC00}"/>
                </a:ext>
              </a:extLst>
            </p:cNvPr>
            <p:cNvSpPr txBox="1"/>
            <p:nvPr/>
          </p:nvSpPr>
          <p:spPr bwMode="gray">
            <a:xfrm>
              <a:off x="3463936" y="5901641"/>
              <a:ext cx="226300" cy="164582"/>
            </a:xfrm>
            <a:prstGeom prst="rect">
              <a:avLst/>
            </a:prstGeom>
            <a:noFill/>
          </p:spPr>
          <p:txBody>
            <a:bodyPr wrap="none" lIns="0" tIns="0" rIns="0" bIns="0" rtlCol="0" anchor="ctr">
              <a:spAutoFit/>
            </a:bodyPr>
            <a:lstStyle/>
            <a:p>
              <a:pPr algn="ctr"/>
              <a:r>
                <a:rPr lang="en-US" sz="1000" dirty="0"/>
                <a:t>651</a:t>
              </a:r>
            </a:p>
          </p:txBody>
        </p:sp>
        <p:cxnSp>
          <p:nvCxnSpPr>
            <p:cNvPr id="95" name="Straight Connector 94">
              <a:extLst>
                <a:ext uri="{FF2B5EF4-FFF2-40B4-BE49-F238E27FC236}">
                  <a16:creationId xmlns:a16="http://schemas.microsoft.com/office/drawing/2014/main" id="{6CBD06F3-380B-46CC-AD15-67253335B1C3}"/>
                </a:ext>
              </a:extLst>
            </p:cNvPr>
            <p:cNvCxnSpPr/>
            <p:nvPr/>
          </p:nvCxnSpPr>
          <p:spPr bwMode="gray">
            <a:xfrm>
              <a:off x="3890459" y="5174798"/>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BFC3FD99-820A-456E-A2DD-2019D6A5D013}"/>
                </a:ext>
              </a:extLst>
            </p:cNvPr>
            <p:cNvSpPr txBox="1"/>
            <p:nvPr/>
          </p:nvSpPr>
          <p:spPr bwMode="gray">
            <a:xfrm>
              <a:off x="3845027" y="5272248"/>
              <a:ext cx="90863" cy="197498"/>
            </a:xfrm>
            <a:prstGeom prst="rect">
              <a:avLst/>
            </a:prstGeom>
            <a:noFill/>
          </p:spPr>
          <p:txBody>
            <a:bodyPr wrap="none" lIns="0" tIns="0" rIns="0" bIns="0" rtlCol="0" anchor="ctr">
              <a:spAutoFit/>
            </a:bodyPr>
            <a:lstStyle/>
            <a:p>
              <a:pPr algn="ctr"/>
              <a:r>
                <a:rPr lang="en-US" sz="1200" dirty="0"/>
                <a:t>3</a:t>
              </a:r>
            </a:p>
          </p:txBody>
        </p:sp>
        <p:sp>
          <p:nvSpPr>
            <p:cNvPr id="97" name="TextBox 96">
              <a:extLst>
                <a:ext uri="{FF2B5EF4-FFF2-40B4-BE49-F238E27FC236}">
                  <a16:creationId xmlns:a16="http://schemas.microsoft.com/office/drawing/2014/main" id="{DC4CF84B-2A75-45F0-B1D7-73C8A4CFFE56}"/>
                </a:ext>
              </a:extLst>
            </p:cNvPr>
            <p:cNvSpPr txBox="1"/>
            <p:nvPr/>
          </p:nvSpPr>
          <p:spPr bwMode="gray">
            <a:xfrm>
              <a:off x="3777310" y="5901641"/>
              <a:ext cx="226300" cy="164582"/>
            </a:xfrm>
            <a:prstGeom prst="rect">
              <a:avLst/>
            </a:prstGeom>
            <a:noFill/>
          </p:spPr>
          <p:txBody>
            <a:bodyPr wrap="none" lIns="0" tIns="0" rIns="0" bIns="0" rtlCol="0" anchor="ctr">
              <a:spAutoFit/>
            </a:bodyPr>
            <a:lstStyle/>
            <a:p>
              <a:pPr algn="ctr"/>
              <a:r>
                <a:rPr lang="en-US" sz="1000" dirty="0"/>
                <a:t>608</a:t>
              </a:r>
            </a:p>
          </p:txBody>
        </p:sp>
        <p:sp>
          <p:nvSpPr>
            <p:cNvPr id="98" name="TextBox 97">
              <a:extLst>
                <a:ext uri="{FF2B5EF4-FFF2-40B4-BE49-F238E27FC236}">
                  <a16:creationId xmlns:a16="http://schemas.microsoft.com/office/drawing/2014/main" id="{23C2C83F-C646-4851-A368-3139933EA671}"/>
                </a:ext>
              </a:extLst>
            </p:cNvPr>
            <p:cNvSpPr txBox="1"/>
            <p:nvPr/>
          </p:nvSpPr>
          <p:spPr bwMode="gray">
            <a:xfrm>
              <a:off x="9128099" y="6046751"/>
              <a:ext cx="75433" cy="164582"/>
            </a:xfrm>
            <a:prstGeom prst="rect">
              <a:avLst/>
            </a:prstGeom>
            <a:noFill/>
          </p:spPr>
          <p:txBody>
            <a:bodyPr wrap="none" lIns="0" tIns="0" rIns="0" bIns="0" rtlCol="0" anchor="ctr">
              <a:spAutoFit/>
            </a:bodyPr>
            <a:lstStyle/>
            <a:p>
              <a:pPr algn="ctr"/>
              <a:r>
                <a:rPr lang="en-US" sz="1000" dirty="0"/>
                <a:t>1</a:t>
              </a:r>
            </a:p>
          </p:txBody>
        </p:sp>
        <p:sp>
          <p:nvSpPr>
            <p:cNvPr id="99" name="TextBox 98">
              <a:extLst>
                <a:ext uri="{FF2B5EF4-FFF2-40B4-BE49-F238E27FC236}">
                  <a16:creationId xmlns:a16="http://schemas.microsoft.com/office/drawing/2014/main" id="{C226904A-CF1F-40B6-A2EC-54B2773E5062}"/>
                </a:ext>
              </a:extLst>
            </p:cNvPr>
            <p:cNvSpPr txBox="1"/>
            <p:nvPr/>
          </p:nvSpPr>
          <p:spPr bwMode="gray">
            <a:xfrm>
              <a:off x="9441472" y="6046751"/>
              <a:ext cx="75433" cy="164582"/>
            </a:xfrm>
            <a:prstGeom prst="rect">
              <a:avLst/>
            </a:prstGeom>
            <a:noFill/>
          </p:spPr>
          <p:txBody>
            <a:bodyPr wrap="none" lIns="0" tIns="0" rIns="0" bIns="0" rtlCol="0" anchor="ctr">
              <a:spAutoFit/>
            </a:bodyPr>
            <a:lstStyle/>
            <a:p>
              <a:pPr algn="ctr"/>
              <a:r>
                <a:rPr lang="en-US" sz="1000" dirty="0"/>
                <a:t>0</a:t>
              </a:r>
            </a:p>
          </p:txBody>
        </p:sp>
        <p:sp>
          <p:nvSpPr>
            <p:cNvPr id="100" name="TextBox 99">
              <a:extLst>
                <a:ext uri="{FF2B5EF4-FFF2-40B4-BE49-F238E27FC236}">
                  <a16:creationId xmlns:a16="http://schemas.microsoft.com/office/drawing/2014/main" id="{5D4D512C-025A-43DD-8992-D9B2B55BD8F6}"/>
                </a:ext>
              </a:extLst>
            </p:cNvPr>
            <p:cNvSpPr txBox="1"/>
            <p:nvPr/>
          </p:nvSpPr>
          <p:spPr bwMode="gray">
            <a:xfrm>
              <a:off x="8460606" y="6046751"/>
              <a:ext cx="150866" cy="164582"/>
            </a:xfrm>
            <a:prstGeom prst="rect">
              <a:avLst/>
            </a:prstGeom>
            <a:noFill/>
          </p:spPr>
          <p:txBody>
            <a:bodyPr wrap="none" lIns="0" tIns="0" rIns="0" bIns="0" rtlCol="0" anchor="ctr">
              <a:spAutoFit/>
            </a:bodyPr>
            <a:lstStyle/>
            <a:p>
              <a:pPr algn="ctr"/>
              <a:r>
                <a:rPr lang="en-US" sz="1000" dirty="0"/>
                <a:t>14</a:t>
              </a:r>
            </a:p>
          </p:txBody>
        </p:sp>
        <p:sp>
          <p:nvSpPr>
            <p:cNvPr id="101" name="TextBox 100">
              <a:extLst>
                <a:ext uri="{FF2B5EF4-FFF2-40B4-BE49-F238E27FC236}">
                  <a16:creationId xmlns:a16="http://schemas.microsoft.com/office/drawing/2014/main" id="{AF4CC003-E864-4F6C-A03C-1C22DC1FE676}"/>
                </a:ext>
              </a:extLst>
            </p:cNvPr>
            <p:cNvSpPr txBox="1"/>
            <p:nvPr/>
          </p:nvSpPr>
          <p:spPr bwMode="gray">
            <a:xfrm>
              <a:off x="8811696" y="6046751"/>
              <a:ext cx="75433" cy="164582"/>
            </a:xfrm>
            <a:prstGeom prst="rect">
              <a:avLst/>
            </a:prstGeom>
            <a:noFill/>
          </p:spPr>
          <p:txBody>
            <a:bodyPr wrap="none" lIns="0" tIns="0" rIns="0" bIns="0" rtlCol="0" anchor="ctr">
              <a:spAutoFit/>
            </a:bodyPr>
            <a:lstStyle/>
            <a:p>
              <a:pPr algn="ctr"/>
              <a:r>
                <a:rPr lang="en-US" sz="1000" dirty="0"/>
                <a:t>4</a:t>
              </a:r>
            </a:p>
          </p:txBody>
        </p:sp>
        <p:sp>
          <p:nvSpPr>
            <p:cNvPr id="102" name="TextBox 101">
              <a:extLst>
                <a:ext uri="{FF2B5EF4-FFF2-40B4-BE49-F238E27FC236}">
                  <a16:creationId xmlns:a16="http://schemas.microsoft.com/office/drawing/2014/main" id="{278AB85B-3087-4FE5-A3D9-ADABDB703C25}"/>
                </a:ext>
              </a:extLst>
            </p:cNvPr>
            <p:cNvSpPr txBox="1"/>
            <p:nvPr/>
          </p:nvSpPr>
          <p:spPr bwMode="gray">
            <a:xfrm>
              <a:off x="7841277" y="6046751"/>
              <a:ext cx="150866" cy="164582"/>
            </a:xfrm>
            <a:prstGeom prst="rect">
              <a:avLst/>
            </a:prstGeom>
            <a:noFill/>
          </p:spPr>
          <p:txBody>
            <a:bodyPr wrap="none" lIns="0" tIns="0" rIns="0" bIns="0" rtlCol="0" anchor="ctr">
              <a:spAutoFit/>
            </a:bodyPr>
            <a:lstStyle/>
            <a:p>
              <a:pPr algn="ctr"/>
              <a:r>
                <a:rPr lang="en-US" sz="1000" dirty="0"/>
                <a:t>77</a:t>
              </a:r>
            </a:p>
          </p:txBody>
        </p:sp>
        <p:sp>
          <p:nvSpPr>
            <p:cNvPr id="103" name="TextBox 102">
              <a:extLst>
                <a:ext uri="{FF2B5EF4-FFF2-40B4-BE49-F238E27FC236}">
                  <a16:creationId xmlns:a16="http://schemas.microsoft.com/office/drawing/2014/main" id="{7955EB61-5823-4386-847C-5C86B38BD4AE}"/>
                </a:ext>
              </a:extLst>
            </p:cNvPr>
            <p:cNvSpPr txBox="1"/>
            <p:nvPr/>
          </p:nvSpPr>
          <p:spPr bwMode="gray">
            <a:xfrm>
              <a:off x="8154650" y="6046751"/>
              <a:ext cx="150866" cy="164582"/>
            </a:xfrm>
            <a:prstGeom prst="rect">
              <a:avLst/>
            </a:prstGeom>
            <a:noFill/>
          </p:spPr>
          <p:txBody>
            <a:bodyPr wrap="none" lIns="0" tIns="0" rIns="0" bIns="0" rtlCol="0" anchor="ctr">
              <a:spAutoFit/>
            </a:bodyPr>
            <a:lstStyle/>
            <a:p>
              <a:pPr algn="ctr"/>
              <a:r>
                <a:rPr lang="en-US" sz="1000" dirty="0"/>
                <a:t>38</a:t>
              </a:r>
            </a:p>
          </p:txBody>
        </p:sp>
        <p:sp>
          <p:nvSpPr>
            <p:cNvPr id="104" name="TextBox 103">
              <a:extLst>
                <a:ext uri="{FF2B5EF4-FFF2-40B4-BE49-F238E27FC236}">
                  <a16:creationId xmlns:a16="http://schemas.microsoft.com/office/drawing/2014/main" id="{9F1F0C07-599E-4580-AD43-25885B4F96BC}"/>
                </a:ext>
              </a:extLst>
            </p:cNvPr>
            <p:cNvSpPr txBox="1"/>
            <p:nvPr/>
          </p:nvSpPr>
          <p:spPr bwMode="gray">
            <a:xfrm>
              <a:off x="7173784" y="6046751"/>
              <a:ext cx="226300" cy="164582"/>
            </a:xfrm>
            <a:prstGeom prst="rect">
              <a:avLst/>
            </a:prstGeom>
            <a:noFill/>
          </p:spPr>
          <p:txBody>
            <a:bodyPr wrap="none" lIns="0" tIns="0" rIns="0" bIns="0" rtlCol="0" anchor="ctr">
              <a:spAutoFit/>
            </a:bodyPr>
            <a:lstStyle/>
            <a:p>
              <a:pPr algn="ctr"/>
              <a:r>
                <a:rPr lang="en-US" sz="1000" dirty="0"/>
                <a:t>114</a:t>
              </a:r>
            </a:p>
          </p:txBody>
        </p:sp>
        <p:sp>
          <p:nvSpPr>
            <p:cNvPr id="105" name="TextBox 104">
              <a:extLst>
                <a:ext uri="{FF2B5EF4-FFF2-40B4-BE49-F238E27FC236}">
                  <a16:creationId xmlns:a16="http://schemas.microsoft.com/office/drawing/2014/main" id="{137223F9-661E-46A1-BF4C-7EA187AE8026}"/>
                </a:ext>
              </a:extLst>
            </p:cNvPr>
            <p:cNvSpPr txBox="1"/>
            <p:nvPr/>
          </p:nvSpPr>
          <p:spPr bwMode="gray">
            <a:xfrm>
              <a:off x="7487157" y="6046751"/>
              <a:ext cx="226300" cy="164582"/>
            </a:xfrm>
            <a:prstGeom prst="rect">
              <a:avLst/>
            </a:prstGeom>
            <a:noFill/>
          </p:spPr>
          <p:txBody>
            <a:bodyPr wrap="none" lIns="0" tIns="0" rIns="0" bIns="0" rtlCol="0" anchor="ctr">
              <a:spAutoFit/>
            </a:bodyPr>
            <a:lstStyle/>
            <a:p>
              <a:pPr algn="ctr"/>
              <a:r>
                <a:rPr lang="en-US" sz="1000" dirty="0"/>
                <a:t>104</a:t>
              </a:r>
            </a:p>
          </p:txBody>
        </p:sp>
        <p:sp>
          <p:nvSpPr>
            <p:cNvPr id="106" name="TextBox 105">
              <a:extLst>
                <a:ext uri="{FF2B5EF4-FFF2-40B4-BE49-F238E27FC236}">
                  <a16:creationId xmlns:a16="http://schemas.microsoft.com/office/drawing/2014/main" id="{4023EB13-223B-49EB-8FCD-06766BAB9794}"/>
                </a:ext>
              </a:extLst>
            </p:cNvPr>
            <p:cNvSpPr txBox="1"/>
            <p:nvPr/>
          </p:nvSpPr>
          <p:spPr bwMode="gray">
            <a:xfrm>
              <a:off x="6569884" y="6046751"/>
              <a:ext cx="226300" cy="164582"/>
            </a:xfrm>
            <a:prstGeom prst="rect">
              <a:avLst/>
            </a:prstGeom>
            <a:noFill/>
          </p:spPr>
          <p:txBody>
            <a:bodyPr wrap="none" lIns="0" tIns="0" rIns="0" bIns="0" rtlCol="0" anchor="ctr">
              <a:spAutoFit/>
            </a:bodyPr>
            <a:lstStyle/>
            <a:p>
              <a:pPr algn="ctr"/>
              <a:r>
                <a:rPr lang="en-US" sz="1000" dirty="0"/>
                <a:t>144</a:t>
              </a:r>
            </a:p>
          </p:txBody>
        </p:sp>
        <p:sp>
          <p:nvSpPr>
            <p:cNvPr id="107" name="TextBox 106">
              <a:extLst>
                <a:ext uri="{FF2B5EF4-FFF2-40B4-BE49-F238E27FC236}">
                  <a16:creationId xmlns:a16="http://schemas.microsoft.com/office/drawing/2014/main" id="{6183DDAC-6D69-4D4E-8F9A-E8CE5091BD4E}"/>
                </a:ext>
              </a:extLst>
            </p:cNvPr>
            <p:cNvSpPr txBox="1"/>
            <p:nvPr/>
          </p:nvSpPr>
          <p:spPr bwMode="gray">
            <a:xfrm>
              <a:off x="6883257" y="6046751"/>
              <a:ext cx="226300" cy="164582"/>
            </a:xfrm>
            <a:prstGeom prst="rect">
              <a:avLst/>
            </a:prstGeom>
            <a:noFill/>
          </p:spPr>
          <p:txBody>
            <a:bodyPr wrap="none" lIns="0" tIns="0" rIns="0" bIns="0" rtlCol="0" anchor="ctr">
              <a:spAutoFit/>
            </a:bodyPr>
            <a:lstStyle/>
            <a:p>
              <a:pPr algn="ctr"/>
              <a:r>
                <a:rPr lang="en-US" sz="1000" dirty="0"/>
                <a:t>132</a:t>
              </a:r>
            </a:p>
          </p:txBody>
        </p:sp>
        <p:sp>
          <p:nvSpPr>
            <p:cNvPr id="108" name="TextBox 107">
              <a:extLst>
                <a:ext uri="{FF2B5EF4-FFF2-40B4-BE49-F238E27FC236}">
                  <a16:creationId xmlns:a16="http://schemas.microsoft.com/office/drawing/2014/main" id="{E1BCCD6F-865C-4132-A5BB-C5F429DA3E9E}"/>
                </a:ext>
              </a:extLst>
            </p:cNvPr>
            <p:cNvSpPr txBox="1"/>
            <p:nvPr/>
          </p:nvSpPr>
          <p:spPr bwMode="gray">
            <a:xfrm>
              <a:off x="5940108" y="6046751"/>
              <a:ext cx="226300" cy="164582"/>
            </a:xfrm>
            <a:prstGeom prst="rect">
              <a:avLst/>
            </a:prstGeom>
            <a:noFill/>
          </p:spPr>
          <p:txBody>
            <a:bodyPr wrap="none" lIns="0" tIns="0" rIns="0" bIns="0" rtlCol="0" anchor="ctr">
              <a:spAutoFit/>
            </a:bodyPr>
            <a:lstStyle/>
            <a:p>
              <a:pPr algn="ctr"/>
              <a:r>
                <a:rPr lang="en-US" sz="1000" dirty="0"/>
                <a:t>186</a:t>
              </a:r>
            </a:p>
          </p:txBody>
        </p:sp>
        <p:sp>
          <p:nvSpPr>
            <p:cNvPr id="109" name="TextBox 108">
              <a:extLst>
                <a:ext uri="{FF2B5EF4-FFF2-40B4-BE49-F238E27FC236}">
                  <a16:creationId xmlns:a16="http://schemas.microsoft.com/office/drawing/2014/main" id="{F477B5F0-07CE-40C9-A320-90CEC99897D9}"/>
                </a:ext>
              </a:extLst>
            </p:cNvPr>
            <p:cNvSpPr txBox="1"/>
            <p:nvPr/>
          </p:nvSpPr>
          <p:spPr bwMode="gray">
            <a:xfrm>
              <a:off x="6253481" y="6046751"/>
              <a:ext cx="226300" cy="164582"/>
            </a:xfrm>
            <a:prstGeom prst="rect">
              <a:avLst/>
            </a:prstGeom>
            <a:noFill/>
          </p:spPr>
          <p:txBody>
            <a:bodyPr wrap="none" lIns="0" tIns="0" rIns="0" bIns="0" rtlCol="0" anchor="ctr">
              <a:spAutoFit/>
            </a:bodyPr>
            <a:lstStyle/>
            <a:p>
              <a:pPr algn="ctr"/>
              <a:r>
                <a:rPr lang="en-US" sz="1000" dirty="0"/>
                <a:t>167</a:t>
              </a:r>
            </a:p>
          </p:txBody>
        </p:sp>
        <p:sp>
          <p:nvSpPr>
            <p:cNvPr id="110" name="TextBox 109">
              <a:extLst>
                <a:ext uri="{FF2B5EF4-FFF2-40B4-BE49-F238E27FC236}">
                  <a16:creationId xmlns:a16="http://schemas.microsoft.com/office/drawing/2014/main" id="{4EE30DDC-21B4-4528-9FBA-65C00F85E2A3}"/>
                </a:ext>
              </a:extLst>
            </p:cNvPr>
            <p:cNvSpPr txBox="1"/>
            <p:nvPr/>
          </p:nvSpPr>
          <p:spPr bwMode="gray">
            <a:xfrm>
              <a:off x="5320778" y="6046751"/>
              <a:ext cx="226300" cy="164582"/>
            </a:xfrm>
            <a:prstGeom prst="rect">
              <a:avLst/>
            </a:prstGeom>
            <a:noFill/>
          </p:spPr>
          <p:txBody>
            <a:bodyPr wrap="none" lIns="0" tIns="0" rIns="0" bIns="0" rtlCol="0" anchor="ctr">
              <a:spAutoFit/>
            </a:bodyPr>
            <a:lstStyle/>
            <a:p>
              <a:pPr algn="ctr"/>
              <a:r>
                <a:rPr lang="en-US" sz="1000" dirty="0"/>
                <a:t>253</a:t>
              </a:r>
            </a:p>
          </p:txBody>
        </p:sp>
        <p:sp>
          <p:nvSpPr>
            <p:cNvPr id="111" name="TextBox 110">
              <a:extLst>
                <a:ext uri="{FF2B5EF4-FFF2-40B4-BE49-F238E27FC236}">
                  <a16:creationId xmlns:a16="http://schemas.microsoft.com/office/drawing/2014/main" id="{CB3A542B-F7E1-4DAC-9D10-22A057BFFE17}"/>
                </a:ext>
              </a:extLst>
            </p:cNvPr>
            <p:cNvSpPr txBox="1"/>
            <p:nvPr/>
          </p:nvSpPr>
          <p:spPr bwMode="gray">
            <a:xfrm>
              <a:off x="5634151" y="6046751"/>
              <a:ext cx="226300" cy="164582"/>
            </a:xfrm>
            <a:prstGeom prst="rect">
              <a:avLst/>
            </a:prstGeom>
            <a:noFill/>
          </p:spPr>
          <p:txBody>
            <a:bodyPr wrap="none" lIns="0" tIns="0" rIns="0" bIns="0" rtlCol="0" anchor="ctr">
              <a:spAutoFit/>
            </a:bodyPr>
            <a:lstStyle/>
            <a:p>
              <a:pPr algn="ctr"/>
              <a:r>
                <a:rPr lang="en-US" sz="1000" dirty="0"/>
                <a:t>220</a:t>
              </a:r>
            </a:p>
          </p:txBody>
        </p:sp>
        <p:sp>
          <p:nvSpPr>
            <p:cNvPr id="112" name="TextBox 111">
              <a:extLst>
                <a:ext uri="{FF2B5EF4-FFF2-40B4-BE49-F238E27FC236}">
                  <a16:creationId xmlns:a16="http://schemas.microsoft.com/office/drawing/2014/main" id="{EF91D344-8014-4B22-96A5-D21B4217C965}"/>
                </a:ext>
              </a:extLst>
            </p:cNvPr>
            <p:cNvSpPr txBox="1"/>
            <p:nvPr/>
          </p:nvSpPr>
          <p:spPr bwMode="gray">
            <a:xfrm>
              <a:off x="4691002" y="6046751"/>
              <a:ext cx="226300" cy="164582"/>
            </a:xfrm>
            <a:prstGeom prst="rect">
              <a:avLst/>
            </a:prstGeom>
            <a:noFill/>
          </p:spPr>
          <p:txBody>
            <a:bodyPr wrap="none" lIns="0" tIns="0" rIns="0" bIns="0" rtlCol="0" anchor="ctr">
              <a:spAutoFit/>
            </a:bodyPr>
            <a:lstStyle/>
            <a:p>
              <a:pPr algn="ctr"/>
              <a:r>
                <a:rPr lang="en-US" sz="1000" dirty="0"/>
                <a:t>354</a:t>
              </a:r>
            </a:p>
          </p:txBody>
        </p:sp>
        <p:sp>
          <p:nvSpPr>
            <p:cNvPr id="113" name="TextBox 112">
              <a:extLst>
                <a:ext uri="{FF2B5EF4-FFF2-40B4-BE49-F238E27FC236}">
                  <a16:creationId xmlns:a16="http://schemas.microsoft.com/office/drawing/2014/main" id="{C6FDB9B9-A245-4A7C-850F-46FA0FE71FF1}"/>
                </a:ext>
              </a:extLst>
            </p:cNvPr>
            <p:cNvSpPr txBox="1"/>
            <p:nvPr/>
          </p:nvSpPr>
          <p:spPr bwMode="gray">
            <a:xfrm>
              <a:off x="5004375" y="6046751"/>
              <a:ext cx="226300" cy="164582"/>
            </a:xfrm>
            <a:prstGeom prst="rect">
              <a:avLst/>
            </a:prstGeom>
            <a:noFill/>
          </p:spPr>
          <p:txBody>
            <a:bodyPr wrap="none" lIns="0" tIns="0" rIns="0" bIns="0" rtlCol="0" anchor="ctr">
              <a:spAutoFit/>
            </a:bodyPr>
            <a:lstStyle/>
            <a:p>
              <a:pPr algn="ctr"/>
              <a:r>
                <a:rPr lang="en-US" sz="1000" dirty="0"/>
                <a:t>293</a:t>
              </a:r>
            </a:p>
          </p:txBody>
        </p:sp>
        <p:sp>
          <p:nvSpPr>
            <p:cNvPr id="114" name="TextBox 113">
              <a:extLst>
                <a:ext uri="{FF2B5EF4-FFF2-40B4-BE49-F238E27FC236}">
                  <a16:creationId xmlns:a16="http://schemas.microsoft.com/office/drawing/2014/main" id="{7F60C0FF-E9F3-4D30-A32A-1ABC6433D620}"/>
                </a:ext>
              </a:extLst>
            </p:cNvPr>
            <p:cNvSpPr txBox="1"/>
            <p:nvPr/>
          </p:nvSpPr>
          <p:spPr bwMode="gray">
            <a:xfrm>
              <a:off x="4093713" y="6046751"/>
              <a:ext cx="226300" cy="164582"/>
            </a:xfrm>
            <a:prstGeom prst="rect">
              <a:avLst/>
            </a:prstGeom>
            <a:noFill/>
          </p:spPr>
          <p:txBody>
            <a:bodyPr wrap="none" lIns="0" tIns="0" rIns="0" bIns="0" rtlCol="0" anchor="ctr">
              <a:spAutoFit/>
            </a:bodyPr>
            <a:lstStyle/>
            <a:p>
              <a:pPr algn="ctr"/>
              <a:r>
                <a:rPr lang="en-US" sz="1000" dirty="0"/>
                <a:t>542</a:t>
              </a:r>
            </a:p>
          </p:txBody>
        </p:sp>
        <p:sp>
          <p:nvSpPr>
            <p:cNvPr id="115" name="TextBox 114">
              <a:extLst>
                <a:ext uri="{FF2B5EF4-FFF2-40B4-BE49-F238E27FC236}">
                  <a16:creationId xmlns:a16="http://schemas.microsoft.com/office/drawing/2014/main" id="{C5FB78F9-72D0-48AE-A4A2-2D0662217791}"/>
                </a:ext>
              </a:extLst>
            </p:cNvPr>
            <p:cNvSpPr txBox="1"/>
            <p:nvPr/>
          </p:nvSpPr>
          <p:spPr bwMode="gray">
            <a:xfrm>
              <a:off x="4407086" y="6046751"/>
              <a:ext cx="226300" cy="164582"/>
            </a:xfrm>
            <a:prstGeom prst="rect">
              <a:avLst/>
            </a:prstGeom>
            <a:noFill/>
          </p:spPr>
          <p:txBody>
            <a:bodyPr wrap="none" lIns="0" tIns="0" rIns="0" bIns="0" rtlCol="0" anchor="ctr">
              <a:spAutoFit/>
            </a:bodyPr>
            <a:lstStyle/>
            <a:p>
              <a:pPr algn="ctr"/>
              <a:r>
                <a:rPr lang="en-US" sz="1000" dirty="0"/>
                <a:t>432</a:t>
              </a:r>
            </a:p>
          </p:txBody>
        </p:sp>
        <p:sp>
          <p:nvSpPr>
            <p:cNvPr id="116" name="TextBox 115">
              <a:extLst>
                <a:ext uri="{FF2B5EF4-FFF2-40B4-BE49-F238E27FC236}">
                  <a16:creationId xmlns:a16="http://schemas.microsoft.com/office/drawing/2014/main" id="{8E974734-B82D-4A06-8210-BDCAE64BA862}"/>
                </a:ext>
              </a:extLst>
            </p:cNvPr>
            <p:cNvSpPr txBox="1"/>
            <p:nvPr/>
          </p:nvSpPr>
          <p:spPr bwMode="gray">
            <a:xfrm>
              <a:off x="3463936" y="6046751"/>
              <a:ext cx="226300" cy="164582"/>
            </a:xfrm>
            <a:prstGeom prst="rect">
              <a:avLst/>
            </a:prstGeom>
            <a:noFill/>
          </p:spPr>
          <p:txBody>
            <a:bodyPr wrap="none" lIns="0" tIns="0" rIns="0" bIns="0" rtlCol="0" anchor="ctr">
              <a:spAutoFit/>
            </a:bodyPr>
            <a:lstStyle/>
            <a:p>
              <a:pPr algn="ctr"/>
              <a:r>
                <a:rPr lang="en-US" sz="1000" dirty="0"/>
                <a:t>654</a:t>
              </a:r>
            </a:p>
          </p:txBody>
        </p:sp>
        <p:sp>
          <p:nvSpPr>
            <p:cNvPr id="117" name="TextBox 116">
              <a:extLst>
                <a:ext uri="{FF2B5EF4-FFF2-40B4-BE49-F238E27FC236}">
                  <a16:creationId xmlns:a16="http://schemas.microsoft.com/office/drawing/2014/main" id="{DAEDE3F3-8B71-41AE-83B0-EC4CBFE0ACAE}"/>
                </a:ext>
              </a:extLst>
            </p:cNvPr>
            <p:cNvSpPr txBox="1"/>
            <p:nvPr/>
          </p:nvSpPr>
          <p:spPr bwMode="gray">
            <a:xfrm>
              <a:off x="3777310" y="6046751"/>
              <a:ext cx="226300" cy="164582"/>
            </a:xfrm>
            <a:prstGeom prst="rect">
              <a:avLst/>
            </a:prstGeom>
            <a:noFill/>
          </p:spPr>
          <p:txBody>
            <a:bodyPr wrap="none" lIns="0" tIns="0" rIns="0" bIns="0" rtlCol="0" anchor="ctr">
              <a:spAutoFit/>
            </a:bodyPr>
            <a:lstStyle/>
            <a:p>
              <a:pPr algn="ctr"/>
              <a:r>
                <a:rPr lang="en-US" sz="1000" dirty="0"/>
                <a:t>605</a:t>
              </a:r>
            </a:p>
          </p:txBody>
        </p:sp>
        <p:cxnSp>
          <p:nvCxnSpPr>
            <p:cNvPr id="118" name="Straight Connector 117">
              <a:extLst>
                <a:ext uri="{FF2B5EF4-FFF2-40B4-BE49-F238E27FC236}">
                  <a16:creationId xmlns:a16="http://schemas.microsoft.com/office/drawing/2014/main" id="{966C8DDA-4517-4664-A39C-FA1E8C83E9ED}"/>
                </a:ext>
              </a:extLst>
            </p:cNvPr>
            <p:cNvCxnSpPr>
              <a:cxnSpLocks/>
            </p:cNvCxnSpPr>
            <p:nvPr/>
          </p:nvCxnSpPr>
          <p:spPr bwMode="gray">
            <a:xfrm rot="5400000">
              <a:off x="3398818" y="5080671"/>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49119E40-BF36-47E5-A748-BFC5F18C65D8}"/>
                </a:ext>
              </a:extLst>
            </p:cNvPr>
            <p:cNvSpPr txBox="1"/>
            <p:nvPr/>
          </p:nvSpPr>
          <p:spPr bwMode="gray">
            <a:xfrm>
              <a:off x="3233011" y="5024522"/>
              <a:ext cx="90863" cy="197498"/>
            </a:xfrm>
            <a:prstGeom prst="rect">
              <a:avLst/>
            </a:prstGeom>
            <a:noFill/>
          </p:spPr>
          <p:txBody>
            <a:bodyPr wrap="none" lIns="0" tIns="0" rIns="0" bIns="0" rtlCol="0" anchor="ctr">
              <a:spAutoFit/>
            </a:bodyPr>
            <a:lstStyle/>
            <a:p>
              <a:pPr algn="r"/>
              <a:r>
                <a:rPr lang="en-US" sz="1200" dirty="0"/>
                <a:t>0</a:t>
              </a:r>
            </a:p>
          </p:txBody>
        </p:sp>
        <p:cxnSp>
          <p:nvCxnSpPr>
            <p:cNvPr id="120" name="Straight Connector 119">
              <a:extLst>
                <a:ext uri="{FF2B5EF4-FFF2-40B4-BE49-F238E27FC236}">
                  <a16:creationId xmlns:a16="http://schemas.microsoft.com/office/drawing/2014/main" id="{F18A2A3D-8193-43E1-82A8-B46D3D229F4B}"/>
                </a:ext>
              </a:extLst>
            </p:cNvPr>
            <p:cNvCxnSpPr>
              <a:cxnSpLocks/>
            </p:cNvCxnSpPr>
            <p:nvPr/>
          </p:nvCxnSpPr>
          <p:spPr bwMode="gray">
            <a:xfrm rot="5400000">
              <a:off x="3398818" y="4775731"/>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EA03FBAD-FEB3-4944-A821-EA06053DD0B8}"/>
                </a:ext>
              </a:extLst>
            </p:cNvPr>
            <p:cNvSpPr txBox="1"/>
            <p:nvPr/>
          </p:nvSpPr>
          <p:spPr bwMode="gray">
            <a:xfrm>
              <a:off x="3142147" y="4719582"/>
              <a:ext cx="181727" cy="197498"/>
            </a:xfrm>
            <a:prstGeom prst="rect">
              <a:avLst/>
            </a:prstGeom>
            <a:noFill/>
          </p:spPr>
          <p:txBody>
            <a:bodyPr wrap="none" lIns="0" tIns="0" rIns="0" bIns="0" rtlCol="0" anchor="ctr">
              <a:spAutoFit/>
            </a:bodyPr>
            <a:lstStyle/>
            <a:p>
              <a:pPr algn="r"/>
              <a:r>
                <a:rPr lang="en-US" sz="1200" dirty="0"/>
                <a:t>10</a:t>
              </a:r>
            </a:p>
          </p:txBody>
        </p:sp>
        <p:cxnSp>
          <p:nvCxnSpPr>
            <p:cNvPr id="122" name="Straight Connector 121">
              <a:extLst>
                <a:ext uri="{FF2B5EF4-FFF2-40B4-BE49-F238E27FC236}">
                  <a16:creationId xmlns:a16="http://schemas.microsoft.com/office/drawing/2014/main" id="{EBFEA578-F632-46D9-816A-B2B98CF83100}"/>
                </a:ext>
              </a:extLst>
            </p:cNvPr>
            <p:cNvCxnSpPr>
              <a:cxnSpLocks/>
            </p:cNvCxnSpPr>
            <p:nvPr/>
          </p:nvCxnSpPr>
          <p:spPr bwMode="gray">
            <a:xfrm rot="5400000">
              <a:off x="3398818" y="4474164"/>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DC27B60A-9E2E-4E7D-B2D9-9EE90B2FCC08}"/>
                </a:ext>
              </a:extLst>
            </p:cNvPr>
            <p:cNvSpPr txBox="1"/>
            <p:nvPr/>
          </p:nvSpPr>
          <p:spPr bwMode="gray">
            <a:xfrm>
              <a:off x="3142147" y="4418015"/>
              <a:ext cx="181727" cy="197498"/>
            </a:xfrm>
            <a:prstGeom prst="rect">
              <a:avLst/>
            </a:prstGeom>
            <a:noFill/>
          </p:spPr>
          <p:txBody>
            <a:bodyPr wrap="none" lIns="0" tIns="0" rIns="0" bIns="0" rtlCol="0" anchor="ctr">
              <a:spAutoFit/>
            </a:bodyPr>
            <a:lstStyle/>
            <a:p>
              <a:pPr algn="r"/>
              <a:r>
                <a:rPr lang="en-US" sz="1200" dirty="0"/>
                <a:t>20</a:t>
              </a:r>
            </a:p>
          </p:txBody>
        </p:sp>
        <p:cxnSp>
          <p:nvCxnSpPr>
            <p:cNvPr id="124" name="Straight Connector 123">
              <a:extLst>
                <a:ext uri="{FF2B5EF4-FFF2-40B4-BE49-F238E27FC236}">
                  <a16:creationId xmlns:a16="http://schemas.microsoft.com/office/drawing/2014/main" id="{16A2E920-C325-48CE-9BC6-CEED250AAC51}"/>
                </a:ext>
              </a:extLst>
            </p:cNvPr>
            <p:cNvCxnSpPr>
              <a:cxnSpLocks/>
            </p:cNvCxnSpPr>
            <p:nvPr/>
          </p:nvCxnSpPr>
          <p:spPr bwMode="gray">
            <a:xfrm rot="5400000">
              <a:off x="3398818" y="4169224"/>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ED41681F-84E7-4175-A83E-55583E6A4430}"/>
                </a:ext>
              </a:extLst>
            </p:cNvPr>
            <p:cNvSpPr txBox="1"/>
            <p:nvPr/>
          </p:nvSpPr>
          <p:spPr bwMode="gray">
            <a:xfrm>
              <a:off x="3142147" y="4113074"/>
              <a:ext cx="181727" cy="197498"/>
            </a:xfrm>
            <a:prstGeom prst="rect">
              <a:avLst/>
            </a:prstGeom>
            <a:noFill/>
          </p:spPr>
          <p:txBody>
            <a:bodyPr wrap="none" lIns="0" tIns="0" rIns="0" bIns="0" rtlCol="0" anchor="ctr">
              <a:spAutoFit/>
            </a:bodyPr>
            <a:lstStyle/>
            <a:p>
              <a:pPr algn="r"/>
              <a:r>
                <a:rPr lang="en-US" sz="1200" dirty="0"/>
                <a:t>30</a:t>
              </a:r>
            </a:p>
          </p:txBody>
        </p:sp>
        <p:cxnSp>
          <p:nvCxnSpPr>
            <p:cNvPr id="126" name="Straight Connector 125">
              <a:extLst>
                <a:ext uri="{FF2B5EF4-FFF2-40B4-BE49-F238E27FC236}">
                  <a16:creationId xmlns:a16="http://schemas.microsoft.com/office/drawing/2014/main" id="{736F61AB-EE81-49D0-9205-F047FF268249}"/>
                </a:ext>
              </a:extLst>
            </p:cNvPr>
            <p:cNvCxnSpPr>
              <a:cxnSpLocks/>
            </p:cNvCxnSpPr>
            <p:nvPr/>
          </p:nvCxnSpPr>
          <p:spPr bwMode="gray">
            <a:xfrm rot="5400000">
              <a:off x="3398818" y="3863674"/>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AC63F5E6-AF17-4EC3-A889-32D245A9AC8D}"/>
                </a:ext>
              </a:extLst>
            </p:cNvPr>
            <p:cNvSpPr txBox="1"/>
            <p:nvPr/>
          </p:nvSpPr>
          <p:spPr bwMode="gray">
            <a:xfrm>
              <a:off x="3142147" y="3807525"/>
              <a:ext cx="181727" cy="197498"/>
            </a:xfrm>
            <a:prstGeom prst="rect">
              <a:avLst/>
            </a:prstGeom>
            <a:noFill/>
          </p:spPr>
          <p:txBody>
            <a:bodyPr wrap="none" lIns="0" tIns="0" rIns="0" bIns="0" rtlCol="0" anchor="ctr">
              <a:spAutoFit/>
            </a:bodyPr>
            <a:lstStyle/>
            <a:p>
              <a:pPr algn="r"/>
              <a:r>
                <a:rPr lang="en-US" sz="1200" dirty="0"/>
                <a:t>40</a:t>
              </a:r>
            </a:p>
          </p:txBody>
        </p:sp>
        <p:cxnSp>
          <p:nvCxnSpPr>
            <p:cNvPr id="128" name="Straight Connector 127">
              <a:extLst>
                <a:ext uri="{FF2B5EF4-FFF2-40B4-BE49-F238E27FC236}">
                  <a16:creationId xmlns:a16="http://schemas.microsoft.com/office/drawing/2014/main" id="{282295CC-8E16-4C8E-A12F-E00B5168F1FA}"/>
                </a:ext>
              </a:extLst>
            </p:cNvPr>
            <p:cNvCxnSpPr>
              <a:cxnSpLocks/>
            </p:cNvCxnSpPr>
            <p:nvPr/>
          </p:nvCxnSpPr>
          <p:spPr bwMode="gray">
            <a:xfrm rot="5400000">
              <a:off x="3398818" y="3558734"/>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88883762-DB5C-4A0D-838A-25B18800A423}"/>
                </a:ext>
              </a:extLst>
            </p:cNvPr>
            <p:cNvSpPr txBox="1"/>
            <p:nvPr/>
          </p:nvSpPr>
          <p:spPr bwMode="gray">
            <a:xfrm>
              <a:off x="3142147" y="3502584"/>
              <a:ext cx="181727" cy="197498"/>
            </a:xfrm>
            <a:prstGeom prst="rect">
              <a:avLst/>
            </a:prstGeom>
            <a:noFill/>
          </p:spPr>
          <p:txBody>
            <a:bodyPr wrap="none" lIns="0" tIns="0" rIns="0" bIns="0" rtlCol="0" anchor="ctr">
              <a:spAutoFit/>
            </a:bodyPr>
            <a:lstStyle/>
            <a:p>
              <a:pPr algn="r"/>
              <a:r>
                <a:rPr lang="en-US" sz="1200" dirty="0"/>
                <a:t>50</a:t>
              </a:r>
            </a:p>
          </p:txBody>
        </p:sp>
        <p:cxnSp>
          <p:nvCxnSpPr>
            <p:cNvPr id="130" name="Straight Connector 129">
              <a:extLst>
                <a:ext uri="{FF2B5EF4-FFF2-40B4-BE49-F238E27FC236}">
                  <a16:creationId xmlns:a16="http://schemas.microsoft.com/office/drawing/2014/main" id="{D0214104-07CF-4147-AB1D-46E0736F832C}"/>
                </a:ext>
              </a:extLst>
            </p:cNvPr>
            <p:cNvCxnSpPr>
              <a:cxnSpLocks/>
            </p:cNvCxnSpPr>
            <p:nvPr/>
          </p:nvCxnSpPr>
          <p:spPr bwMode="gray">
            <a:xfrm rot="5400000">
              <a:off x="3398818" y="3242367"/>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C6A3E855-1954-4A94-9E13-EBBD7FA0B84B}"/>
                </a:ext>
              </a:extLst>
            </p:cNvPr>
            <p:cNvSpPr txBox="1"/>
            <p:nvPr/>
          </p:nvSpPr>
          <p:spPr bwMode="gray">
            <a:xfrm>
              <a:off x="3142147" y="3186218"/>
              <a:ext cx="181727" cy="197498"/>
            </a:xfrm>
            <a:prstGeom prst="rect">
              <a:avLst/>
            </a:prstGeom>
            <a:noFill/>
          </p:spPr>
          <p:txBody>
            <a:bodyPr wrap="none" lIns="0" tIns="0" rIns="0" bIns="0" rtlCol="0" anchor="ctr">
              <a:spAutoFit/>
            </a:bodyPr>
            <a:lstStyle/>
            <a:p>
              <a:pPr algn="r"/>
              <a:r>
                <a:rPr lang="en-US" sz="1200" dirty="0"/>
                <a:t>60</a:t>
              </a:r>
            </a:p>
          </p:txBody>
        </p:sp>
        <p:cxnSp>
          <p:nvCxnSpPr>
            <p:cNvPr id="132" name="Straight Connector 131">
              <a:extLst>
                <a:ext uri="{FF2B5EF4-FFF2-40B4-BE49-F238E27FC236}">
                  <a16:creationId xmlns:a16="http://schemas.microsoft.com/office/drawing/2014/main" id="{9B0F5918-3317-4121-9346-C2D9A5BD8E2C}"/>
                </a:ext>
              </a:extLst>
            </p:cNvPr>
            <p:cNvCxnSpPr>
              <a:cxnSpLocks/>
            </p:cNvCxnSpPr>
            <p:nvPr/>
          </p:nvCxnSpPr>
          <p:spPr bwMode="gray">
            <a:xfrm rot="5400000">
              <a:off x="3398818" y="2940800"/>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5F9E5840-D104-4B14-82A9-289B164E2680}"/>
                </a:ext>
              </a:extLst>
            </p:cNvPr>
            <p:cNvSpPr txBox="1"/>
            <p:nvPr/>
          </p:nvSpPr>
          <p:spPr bwMode="gray">
            <a:xfrm>
              <a:off x="3142147" y="2884650"/>
              <a:ext cx="181727" cy="197498"/>
            </a:xfrm>
            <a:prstGeom prst="rect">
              <a:avLst/>
            </a:prstGeom>
            <a:noFill/>
          </p:spPr>
          <p:txBody>
            <a:bodyPr wrap="none" lIns="0" tIns="0" rIns="0" bIns="0" rtlCol="0" anchor="ctr">
              <a:spAutoFit/>
            </a:bodyPr>
            <a:lstStyle/>
            <a:p>
              <a:pPr algn="r"/>
              <a:r>
                <a:rPr lang="en-US" sz="1200" dirty="0"/>
                <a:t>70</a:t>
              </a:r>
            </a:p>
          </p:txBody>
        </p:sp>
        <p:cxnSp>
          <p:nvCxnSpPr>
            <p:cNvPr id="134" name="Straight Connector 133">
              <a:extLst>
                <a:ext uri="{FF2B5EF4-FFF2-40B4-BE49-F238E27FC236}">
                  <a16:creationId xmlns:a16="http://schemas.microsoft.com/office/drawing/2014/main" id="{78951ED0-0728-4DBB-8CC5-5A36078A36AF}"/>
                </a:ext>
              </a:extLst>
            </p:cNvPr>
            <p:cNvCxnSpPr>
              <a:cxnSpLocks/>
            </p:cNvCxnSpPr>
            <p:nvPr/>
          </p:nvCxnSpPr>
          <p:spPr bwMode="gray">
            <a:xfrm rot="5400000">
              <a:off x="3398818" y="2635859"/>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870EF64B-2AC1-4278-AF37-317683C33ECC}"/>
                </a:ext>
              </a:extLst>
            </p:cNvPr>
            <p:cNvSpPr txBox="1"/>
            <p:nvPr/>
          </p:nvSpPr>
          <p:spPr bwMode="gray">
            <a:xfrm>
              <a:off x="3142147" y="2579710"/>
              <a:ext cx="181727" cy="197498"/>
            </a:xfrm>
            <a:prstGeom prst="rect">
              <a:avLst/>
            </a:prstGeom>
            <a:noFill/>
          </p:spPr>
          <p:txBody>
            <a:bodyPr wrap="none" lIns="0" tIns="0" rIns="0" bIns="0" rtlCol="0" anchor="ctr">
              <a:spAutoFit/>
            </a:bodyPr>
            <a:lstStyle/>
            <a:p>
              <a:pPr algn="r"/>
              <a:r>
                <a:rPr lang="en-US" sz="1200" dirty="0"/>
                <a:t>80</a:t>
              </a:r>
            </a:p>
          </p:txBody>
        </p:sp>
        <p:cxnSp>
          <p:nvCxnSpPr>
            <p:cNvPr id="136" name="Straight Connector 135">
              <a:extLst>
                <a:ext uri="{FF2B5EF4-FFF2-40B4-BE49-F238E27FC236}">
                  <a16:creationId xmlns:a16="http://schemas.microsoft.com/office/drawing/2014/main" id="{EC72F97F-BF71-4858-99F8-A666FEB94346}"/>
                </a:ext>
              </a:extLst>
            </p:cNvPr>
            <p:cNvCxnSpPr>
              <a:cxnSpLocks/>
            </p:cNvCxnSpPr>
            <p:nvPr/>
          </p:nvCxnSpPr>
          <p:spPr bwMode="gray">
            <a:xfrm rot="5400000">
              <a:off x="3398818" y="2330310"/>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A0FCA512-8949-4AC6-ACC6-3D74BF4EBAB6}"/>
                </a:ext>
              </a:extLst>
            </p:cNvPr>
            <p:cNvSpPr txBox="1"/>
            <p:nvPr/>
          </p:nvSpPr>
          <p:spPr bwMode="gray">
            <a:xfrm>
              <a:off x="3142147" y="2274160"/>
              <a:ext cx="181727" cy="197498"/>
            </a:xfrm>
            <a:prstGeom prst="rect">
              <a:avLst/>
            </a:prstGeom>
            <a:noFill/>
          </p:spPr>
          <p:txBody>
            <a:bodyPr wrap="none" lIns="0" tIns="0" rIns="0" bIns="0" rtlCol="0" anchor="ctr">
              <a:spAutoFit/>
            </a:bodyPr>
            <a:lstStyle/>
            <a:p>
              <a:pPr algn="r"/>
              <a:r>
                <a:rPr lang="en-US" sz="1200" dirty="0"/>
                <a:t>90</a:t>
              </a:r>
            </a:p>
          </p:txBody>
        </p:sp>
        <p:cxnSp>
          <p:nvCxnSpPr>
            <p:cNvPr id="138" name="Straight Connector 137">
              <a:extLst>
                <a:ext uri="{FF2B5EF4-FFF2-40B4-BE49-F238E27FC236}">
                  <a16:creationId xmlns:a16="http://schemas.microsoft.com/office/drawing/2014/main" id="{91725D69-AFA1-4C7B-8F2E-73CC92C02D3B}"/>
                </a:ext>
              </a:extLst>
            </p:cNvPr>
            <p:cNvCxnSpPr>
              <a:cxnSpLocks/>
            </p:cNvCxnSpPr>
            <p:nvPr/>
          </p:nvCxnSpPr>
          <p:spPr bwMode="gray">
            <a:xfrm rot="5400000">
              <a:off x="3398818" y="2025369"/>
              <a:ext cx="0" cy="85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6CB45DCA-2FCA-45F4-BB02-0ECD18C26510}"/>
                </a:ext>
              </a:extLst>
            </p:cNvPr>
            <p:cNvSpPr txBox="1"/>
            <p:nvPr/>
          </p:nvSpPr>
          <p:spPr bwMode="gray">
            <a:xfrm>
              <a:off x="3051285" y="1969220"/>
              <a:ext cx="272589" cy="197498"/>
            </a:xfrm>
            <a:prstGeom prst="rect">
              <a:avLst/>
            </a:prstGeom>
            <a:noFill/>
          </p:spPr>
          <p:txBody>
            <a:bodyPr wrap="none" lIns="0" tIns="0" rIns="0" bIns="0" rtlCol="0" anchor="ctr">
              <a:spAutoFit/>
            </a:bodyPr>
            <a:lstStyle/>
            <a:p>
              <a:pPr algn="r"/>
              <a:r>
                <a:rPr lang="en-US" sz="1200" dirty="0"/>
                <a:t>100</a:t>
              </a:r>
            </a:p>
          </p:txBody>
        </p:sp>
        <p:sp>
          <p:nvSpPr>
            <p:cNvPr id="140" name="TextBox 139">
              <a:extLst>
                <a:ext uri="{FF2B5EF4-FFF2-40B4-BE49-F238E27FC236}">
                  <a16:creationId xmlns:a16="http://schemas.microsoft.com/office/drawing/2014/main" id="{2CB6A97D-8067-4694-86F2-01F249D384BF}"/>
                </a:ext>
              </a:extLst>
            </p:cNvPr>
            <p:cNvSpPr txBox="1"/>
            <p:nvPr/>
          </p:nvSpPr>
          <p:spPr bwMode="gray">
            <a:xfrm rot="16200000">
              <a:off x="1035965" y="3434004"/>
              <a:ext cx="3673636" cy="369332"/>
            </a:xfrm>
            <a:prstGeom prst="rect">
              <a:avLst/>
            </a:prstGeom>
            <a:noFill/>
          </p:spPr>
          <p:txBody>
            <a:bodyPr wrap="square" lIns="0" tIns="0" rIns="0" bIns="0" rtlCol="0" anchor="ctr">
              <a:spAutoFit/>
            </a:bodyPr>
            <a:lstStyle/>
            <a:p>
              <a:pPr algn="ctr"/>
              <a:r>
                <a:rPr lang="en-US" sz="1200" b="1" dirty="0"/>
                <a:t>Patients Who Did Not Have </a:t>
              </a:r>
            </a:p>
            <a:p>
              <a:pPr algn="ctr"/>
              <a:r>
                <a:rPr lang="en-US" sz="1200" b="1" dirty="0"/>
                <a:t>PSA Progression, %</a:t>
              </a:r>
            </a:p>
          </p:txBody>
        </p:sp>
        <p:sp>
          <p:nvSpPr>
            <p:cNvPr id="141" name="TextBox 140">
              <a:extLst>
                <a:ext uri="{FF2B5EF4-FFF2-40B4-BE49-F238E27FC236}">
                  <a16:creationId xmlns:a16="http://schemas.microsoft.com/office/drawing/2014/main" id="{30F7F1A3-D5B5-4CD6-BAF1-04014A373574}"/>
                </a:ext>
              </a:extLst>
            </p:cNvPr>
            <p:cNvSpPr txBox="1"/>
            <p:nvPr/>
          </p:nvSpPr>
          <p:spPr bwMode="gray">
            <a:xfrm>
              <a:off x="5381141" y="5512638"/>
              <a:ext cx="2299003" cy="197498"/>
            </a:xfrm>
            <a:prstGeom prst="rect">
              <a:avLst/>
            </a:prstGeom>
            <a:noFill/>
          </p:spPr>
          <p:txBody>
            <a:bodyPr wrap="none" lIns="0" tIns="0" rIns="0" bIns="0" rtlCol="0" anchor="ctr">
              <a:spAutoFit/>
            </a:bodyPr>
            <a:lstStyle/>
            <a:p>
              <a:pPr algn="ctr"/>
              <a:r>
                <a:rPr lang="en-US" sz="1200" b="1" dirty="0"/>
                <a:t>Months Since Randomization</a:t>
              </a:r>
            </a:p>
          </p:txBody>
        </p:sp>
        <p:sp>
          <p:nvSpPr>
            <p:cNvPr id="142" name="TextBox 141">
              <a:extLst>
                <a:ext uri="{FF2B5EF4-FFF2-40B4-BE49-F238E27FC236}">
                  <a16:creationId xmlns:a16="http://schemas.microsoft.com/office/drawing/2014/main" id="{954CD6F9-CB9C-46E1-8324-2FDAC4070464}"/>
                </a:ext>
              </a:extLst>
            </p:cNvPr>
            <p:cNvSpPr txBox="1"/>
            <p:nvPr/>
          </p:nvSpPr>
          <p:spPr bwMode="gray">
            <a:xfrm>
              <a:off x="2580565" y="5901641"/>
              <a:ext cx="812622" cy="164582"/>
            </a:xfrm>
            <a:prstGeom prst="rect">
              <a:avLst/>
            </a:prstGeom>
            <a:noFill/>
          </p:spPr>
          <p:txBody>
            <a:bodyPr wrap="none" lIns="0" tIns="0" rIns="0" bIns="0" rtlCol="0" anchor="ctr">
              <a:spAutoFit/>
            </a:bodyPr>
            <a:lstStyle/>
            <a:p>
              <a:pPr algn="r"/>
              <a:r>
                <a:rPr lang="en-US" sz="1000" dirty="0"/>
                <a:t>Darolutamide</a:t>
              </a:r>
            </a:p>
          </p:txBody>
        </p:sp>
        <p:sp>
          <p:nvSpPr>
            <p:cNvPr id="143" name="TextBox 142">
              <a:extLst>
                <a:ext uri="{FF2B5EF4-FFF2-40B4-BE49-F238E27FC236}">
                  <a16:creationId xmlns:a16="http://schemas.microsoft.com/office/drawing/2014/main" id="{4CA4BACD-D553-4E37-A772-6D459F1E361B}"/>
                </a:ext>
              </a:extLst>
            </p:cNvPr>
            <p:cNvSpPr txBox="1"/>
            <p:nvPr/>
          </p:nvSpPr>
          <p:spPr bwMode="gray">
            <a:xfrm>
              <a:off x="2901156" y="6046751"/>
              <a:ext cx="492031" cy="164582"/>
            </a:xfrm>
            <a:prstGeom prst="rect">
              <a:avLst/>
            </a:prstGeom>
            <a:noFill/>
          </p:spPr>
          <p:txBody>
            <a:bodyPr wrap="none" lIns="0" tIns="0" rIns="0" bIns="0" rtlCol="0" anchor="ctr">
              <a:spAutoFit/>
            </a:bodyPr>
            <a:lstStyle/>
            <a:p>
              <a:pPr algn="r"/>
              <a:r>
                <a:rPr lang="en-US" sz="1000" dirty="0"/>
                <a:t>Placebo</a:t>
              </a:r>
            </a:p>
          </p:txBody>
        </p:sp>
        <p:cxnSp>
          <p:nvCxnSpPr>
            <p:cNvPr id="144" name="Straight Connector 143">
              <a:extLst>
                <a:ext uri="{FF2B5EF4-FFF2-40B4-BE49-F238E27FC236}">
                  <a16:creationId xmlns:a16="http://schemas.microsoft.com/office/drawing/2014/main" id="{8EC79162-FEDF-4407-A989-10A2BE608EF2}"/>
                </a:ext>
              </a:extLst>
            </p:cNvPr>
            <p:cNvCxnSpPr/>
            <p:nvPr/>
          </p:nvCxnSpPr>
          <p:spPr bwMode="gray">
            <a:xfrm>
              <a:off x="3463936" y="5867278"/>
              <a:ext cx="610611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AED9E01D-4750-4D41-9BB4-0856911211A9}"/>
                </a:ext>
              </a:extLst>
            </p:cNvPr>
            <p:cNvCxnSpPr/>
            <p:nvPr/>
          </p:nvCxnSpPr>
          <p:spPr bwMode="gray">
            <a:xfrm>
              <a:off x="3463936" y="6249286"/>
              <a:ext cx="610611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AB6F4939-0F4E-4B41-B997-F339309B2732}"/>
                </a:ext>
              </a:extLst>
            </p:cNvPr>
            <p:cNvSpPr txBox="1"/>
            <p:nvPr/>
          </p:nvSpPr>
          <p:spPr bwMode="gray">
            <a:xfrm>
              <a:off x="3463936" y="5668335"/>
              <a:ext cx="1686965" cy="164582"/>
            </a:xfrm>
            <a:prstGeom prst="rect">
              <a:avLst/>
            </a:prstGeom>
            <a:noFill/>
          </p:spPr>
          <p:txBody>
            <a:bodyPr wrap="none" lIns="0" tIns="0" rIns="0" bIns="0" rtlCol="0" anchor="ctr">
              <a:spAutoFit/>
            </a:bodyPr>
            <a:lstStyle/>
            <a:p>
              <a:pPr algn="r"/>
              <a:r>
                <a:rPr lang="en-US" sz="1000" b="1" dirty="0"/>
                <a:t>Number of patients at risk</a:t>
              </a:r>
            </a:p>
          </p:txBody>
        </p:sp>
      </p:grpSp>
      <p:pic>
        <p:nvPicPr>
          <p:cNvPr id="3" name="Picture 2">
            <a:extLst>
              <a:ext uri="{FF2B5EF4-FFF2-40B4-BE49-F238E27FC236}">
                <a16:creationId xmlns:a16="http://schemas.microsoft.com/office/drawing/2014/main" id="{466344E3-BA74-D542-05ED-C9402C0D2D32}"/>
              </a:ext>
            </a:extLst>
          </p:cNvPr>
          <p:cNvPicPr>
            <a:picLocks noChangeAspect="1"/>
          </p:cNvPicPr>
          <p:nvPr/>
        </p:nvPicPr>
        <p:blipFill>
          <a:blip r:embed="rId4"/>
          <a:stretch>
            <a:fillRect/>
          </a:stretch>
        </p:blipFill>
        <p:spPr>
          <a:xfrm>
            <a:off x="11126026" y="6176457"/>
            <a:ext cx="876999" cy="521759"/>
          </a:xfrm>
          <a:prstGeom prst="rect">
            <a:avLst/>
          </a:prstGeom>
        </p:spPr>
      </p:pic>
    </p:spTree>
    <p:extLst>
      <p:ext uri="{BB962C8B-B14F-4D97-AF65-F5344CB8AC3E}">
        <p14:creationId xmlns:p14="http://schemas.microsoft.com/office/powerpoint/2010/main" val="40662123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gD///////8DAAAAAgD///////8DAAAAAgD///////8DAAAAAgD///////////////////////////////////////////////////////////////////////////////////////////////////////////////////////////////////////////////////////////////////////////////////////////////////////////////////////////////////////////////////////////////////////////////////////////////////////////////////////////////////////////////////////////////////////////////////////////////////////////////////////////////////////////////8BACAA////////////////AAAO////////AwAAAAQA////////////////////////////////////////////////////////////////////////////////////////////////////////////////////////////////////////////////////////////////////////////////////////////////////////////////////////////////////////////////////////////////////////////////////////////////////////////////////////////////////////////////////////////////////////////////////////////////////////////////////////////////////////////////////////////////////////////////////////////////////////////////////////AgAFAP///////wUAAAACABAAC5t2IUDa145CoSlPge0l3EsEAAAAAAADAAAAAAADAAAAAwADAAAAAAD///////8DAAAAAAD///////8DAAAAAAD///////8DAAAAAAD///////8DAAEA////////BQAAAAMAEAALNTjPkw1Hh0KZLy+xYTLcGwQAAAABAAMAAAACAAMAAAAEAAQAAQD///////8FAAAABAAQAAsJJM2YSZ6GQbNGD6pWhHOP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m3YhQNrXjkKhKU+B7SXcSwNEYXRhABsAAAAETGlua2VkU2hhcGVEYXRhAAUAAAAAAAJOYW1lABkAAABMaW5rZWRTaGFwZXNEYXRhUHJvcGVydHkAEFZlcnNpb24AAAAAAAlMYXN0V3JpdGUAqQR78I4BAAAAAQD/////gwCDAAAABV9pZAAQAAAABDU4z5MNR4dCmS8vsWEy3BsDRGF0YQAbAAAABExpbmtlZFNoYXBlRGF0YQAFAAAAAAACTmFtZQAZAAAATGlua2VkU2hhcGVzRGF0YVByb3BlcnR5ABBWZXJzaW9uAAEAAAAJTGFzdFdyaXRlANsEe/COAQAAAAIA/////8YAxgAAAAVfaWQAEAAAAAQJJM2YSZ6GQbNGD6pWhHOPA0RhdGEAUwAAAAhQcmVzZW50YXRpb25TY2FubmVkRm9yTGlua2VkU2hhcGVzAAACTnVtYmVyRm9ybWF0U2VwYXJhdG9yTW9kZQAKAAAAQXV0b21hdGljAAACTmFtZQAkAAAATGlua2VkU2hhcGVQcmVzZW50YXRpb25TZXR0aW5nc0RhdGEAEFZlcnNpb24AAAAAAAlMYXN0V3JpdGUA7wR78I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9CwAAAAAAAAAAAAAgAf///////////////wAAAP///////////////wUAAAAEAP///////wUAAAACAP///////wUAAAACAP///////wUAAAACAP///////wUAAAACAP///////////////////////////////////////////////////////////////////////////////////////////////////////////////////////////////////////////////////////////////////////////////////////////////////////////////////////////////////////////////////////////////////////////////////////////////////////////////////////////////////////////////////////////////////////////////////////////////////////////////////////////////////////////////wEAIAH///////////////8AAA7///////8FAAAAAwD///////////////////////////////////////////////////////////////////////////////////////////////////////////////////////////////////////////////////////////////////////////////////////////////////////////////////////////////////////////////////////////////////////////////////////////////////////////////////////////////////////////////////////////////////////////////////////////////////////////////////////////////////////////////////////////////////////////////////////////////////////////////////////8CAAUBAwAAAAIA////////GgAGTGlua2VkU2hhcGVzRGF0YVByb3BlcnR5XzAEAAAAAAAFAAAABAAFAAAAAwAFAAAAAAD///////8FAAAAAAD///////8FAAAAAAD///////8FAAAAAAD///////8DAAEBAwAAAAMA////////GgAGTGlua2VkU2hhcGVzRGF0YVByb3BlcnR5XzEEAAAAAQAFAAAAAgAFAAAAAQAEAAEBAwAAAAQA////////JQAGTGlua2VkU2hhcGVQcmVzZW50YXRpb25TZXR0aW5nc0RhdGFfMAQ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90283779546734"/>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wADF13DyX1FmHKd2+ErCR4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ADF13DyX1FmHKd2+ErCR4DRGF0YQAWAAAAAlBlcnNvbmFsSWQAAQAAAAAAAk5hbWUACwAAAFBlcnNvbmFsSWQAEFZlcnNpb24AAAAAAAlMYXN0V3JpdGUAQDxMY4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80697898234387"/>
  <p:tag name="EMPOWERCHARTSPROPERTIES_A_LENGTH" val="24576"/>
  <p:tag name="RUNTIME_ID" val="a8edc040-4fbf-489e-a292-d1ce985db075"/>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y/uFvn5xJ9Pia1QDEhfC74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uFvn5xJ9Pia1QDEhfC74DRGF0YQAWAAAAAlBlcnNvbmFsSWQAAQAAAAAAAk5hbWUACwAAAFBlcnNvbmFsSWQAEFZlcnNpb24AAAAAAAlMYXN0V3JpdGUAdBCGTo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06061600237368"/>
  <p:tag name="EMPOWERCHARTSPROPERTIES_A_LENGTH" val="24576"/>
  <p:tag name="RUNTIME_ID" val="09ad1509-d22b-4768-b025-5e80a54e68e4"/>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wMAdAwAAAAAAAAAAAAAIAD///////////////8AAAD///////////////8DAAAAAgD///////8DAAAAAgD///////////////////////////////////////////////////////////////////////////////////////////////////////////////////////////////////////////////////////////////////////////////////////////////////////////////////////////////////////////////////////////////////////////////////////////////////////////////////////////////////////////////////////////////////////////////////////////////////////////////////////////////////////////////////////////////////////////////////////////////8BACAA////////////////AAAO////////AwAAAAIA////////////////////////////////////////////////////////////////////////////////////////////////////////////////////////////////////////////////////////////////////////////////////////////////////////////////////////////////////////////////////////////////////////////////////////////////////////////////////////////////////////////////////////////////////////////////////////////////////////////////////////////////////////////////////////////////////////////////////////////////////////////////////////AgACAP///////wQAAAACABAAC7Kv89TpOs1LgYD06HZlAm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Kv89TpOs1LgYD06HZlAmMDRGF0YQAWAAAAAlBlcnNvbmFsSWQAAQAAAAAAAk5hbWUACwAAAFBlcnNvbmFsSWQAEFZlcnNpb24AAAAAAAlMYXN0V3JpdGUArCaGTo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06061657136034"/>
  <p:tag name="EMPOWERCHARTSPROPERTIES_A_LENGTH" val="24576"/>
  <p:tag name="RUNTIME_ID" val="04387025-0a08-43ce-ac7e-cdc1a6886abb"/>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EAAAAAAAAAAwAAAAMAAAAA/////wMAOAwAAAAAAAAAAAAAIAD///////////////8AAAD///////////////8DAAAAAgD///////8DAAAAAgD///////8DAAAAAgD///////8DAAAAAgD///////8DAAAAAgD///////8DAAAAAgD///////8DAAAAAgD///////////////////////////////////////////////////////////////////////////////////////////////////////////////////////////////////////////////////////////////////////////////////////////////////////////////////////////////////////////////////////////////////////////////////////////////////////////////////////////////////////////////////////////////////////////////////////////////////////////////8BACAA////////////////AAAO////////AwAAAAIA////////////////////////////////////////////////////////////////////////////////////////////////////////////////////////////////////////////////////////////////////////////////////////////////////////////////////////////////////////////////////////////////////////////////////////////////////////////////////////////////////////////////////////////////////////////////////////////////////////////////////////////////////////////////////////////////////////////////////////////////////////////////////////AgAHAP///////wQAAAACABAACzwC6hh+TAVAhq0c31vY2zgFAAAAAAADAAAAAAADAAAAAQADAAAAAAD///////8DAAAAAAD///////8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wC6hh+TAVAhq0c31vY2zgDRGF0YQAWAAAAAlBlcnNvbmFsSWQAAQAAAAAAAk5hbWUACwAAAFBlcnNvbmFsSWQAEFZlcnNpb24AAAAAAAlMYXN0V3JpdGUANxGGTo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06061602134372"/>
  <p:tag name="EMPOWERCHARTSPROPERTIES_A_LENGTH" val="24576"/>
  <p:tag name="RUNTIME_ID" val="e2f92fea-76d1-4674-ac2c-9f5f24bd7f21"/>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5NLszG2At1AvH0mn3iojHA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NLszG2At1AvH0mn3iojHADRGF0YQAWAAAAAlBlcnNvbmFsSWQAAQAAAAAAAk5hbWUACwAAAFBlcnNvbmFsSWQAEFZlcnNpb24AAAAAAAlMYXN0V3JpdGUAmrd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07560181823508"/>
  <p:tag name="EMPOWERCHARTSPROPERTIES_A_LENGTH" val="24576"/>
  <p:tag name="RUNTIME_ID" val="8c4b2e00-2265-4bd6-a99a-774c50dace48"/>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EAAAAAAAAAAwAAAAMAAAAA/////wMAaAwAAAAAAAAAAAAAIAD///////////////8AAAD///////////////8DAAAAAgD///////8DAAAAAgD///////8DAAAAAgD///////////////////////////////////////////////////////////////////////////////////////////////////////////////////////////////////////////////////////////////////////////////////////////////////////////////////////////////////////////////////////////////////////////////////////////////////////////////////////////////////////////////////////////////////////////////////////////////////////////////////////////////////////////////////////////////////////////////8BACAA////////////////AAAO////////AwAAAAIA////////////////////////////////////////////////////////////////////////////////////////////////////////////////////////////////////////////////////////////////////////////////////////////////////////////////////////////////////////////////////////////////////////////////////////////////////////////////////////////////////////////////////////////////////////////////////////////////////////////////////////////////////////////////////////////////////////////////////////////////////////////////////////AgADAP///////wQAAAACABAAC7H+47jSmWNMv/EZgG6E/o0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H+47jSmWNMv/EZgG6E/o0DRGF0YQAWAAAAAlBlcnNvbmFsSWQAAQAAAAAAAk5hbWUACwAAAFBlcnNvbmFsSWQAEFZlcnNpb24AAAAAAAlMYXN0V3JpdGUAGLh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07560182534084"/>
  <p:tag name="EMPOWERCHARTSPROPERTIES_A_LENGTH" val="24576"/>
  <p:tag name="RUNTIME_ID" val="a557dd27-91e2-4594-8774-c14ebe467dc4"/>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xJH9W3tRepGvrb6Pio+Xm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JH9W3tRepGvrb6Pio+XmMDRGF0YQAWAAAAAlBlcnNvbmFsSWQAAQAAAAAAAk5hbWUACwAAAFBlcnNvbmFsSWQAEFZlcnNpb24AAAAAAAlMYXN0V3JpdGUAL2S2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07603221890360"/>
  <p:tag name="EMPOWERCHARTSPROPERTIES_A_LENGTH" val="24576"/>
  <p:tag name="RUNTIME_ID" val="23a0d187-6382-4916-8f22-b5dae8293cc6"/>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0N7Kp1+LtNHqcJSdS4ynOw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N7Kp1+LtNHqcJSdS4ynOwDRGF0YQAWAAAAAlBlcnNvbmFsSWQAAQAAAAAAAk5hbWUACwAAAFBlcnNvbmFsSWQAEFZlcnNpb24AAAAAAAlMYXN0V3JpdGUA/Z4e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07503757366722"/>
  <p:tag name="EMPOWERCHARTSPROPERTIES_A_LENGTH" val="24576"/>
  <p:tag name="RUNTIME_ID" val="fdf3a674-b277-4c9f-acc6-c5889ab3d633"/>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wADF13DyX1FmHKd2+ErCR4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ADF13DyX1FmHKd2+ErCR4DRGF0YQAWAAAAAlBlcnNvbmFsSWQAAQAAAAAAAk5hbWUACwAAAFBlcnNvbmFsSWQAEFZlcnNpb24AAAAAAAlMYXN0V3JpdGUAQDxMY4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80697898234387"/>
  <p:tag name="EMPOWERCHARTSPROPERTIES_A_LENGTH" val="24576"/>
  <p:tag name="RUNTIME_ID" val="a8edc040-4fbf-489e-a292-d1ce985db075"/>
</p:tagLst>
</file>

<file path=ppt/theme/theme1.xml><?xml version="1.0" encoding="utf-8"?>
<a:theme xmlns:a="http://schemas.openxmlformats.org/drawingml/2006/main" name="Medical Affairs Oncology 2016 Powerpoint 16x9 Template v09">
  <a:themeElements>
    <a:clrScheme name="Bayer Orion">
      <a:dk1>
        <a:srgbClr val="000000"/>
      </a:dk1>
      <a:lt1>
        <a:srgbClr val="FFFFFF"/>
      </a:lt1>
      <a:dk2>
        <a:srgbClr val="44546A"/>
      </a:dk2>
      <a:lt2>
        <a:srgbClr val="E7E6E6"/>
      </a:lt2>
      <a:accent1>
        <a:srgbClr val="63BC47"/>
      </a:accent1>
      <a:accent2>
        <a:srgbClr val="4D4D4E"/>
      </a:accent2>
      <a:accent3>
        <a:srgbClr val="AE6F68"/>
      </a:accent3>
      <a:accent4>
        <a:srgbClr val="1F4597"/>
      </a:accent4>
      <a:accent5>
        <a:srgbClr val="797D83"/>
      </a:accent5>
      <a:accent6>
        <a:srgbClr val="E6E6E5"/>
      </a:accent6>
      <a:hlink>
        <a:srgbClr val="0563C1"/>
      </a:hlink>
      <a:folHlink>
        <a:srgbClr val="954F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1">
              <a:lumMod val="50000"/>
              <a:lumOff val="5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spAutoFit/>
      </a:bodyPr>
      <a:lstStyle>
        <a:defPPr>
          <a:defRPr sz="1200" dirty="0" smtClean="0"/>
        </a:defPPr>
      </a:lstStyle>
    </a:txDef>
  </a:objectDefaults>
  <a:extraClrSchemeLst/>
  <a:extLst>
    <a:ext uri="{05A4C25C-085E-4340-85A3-A5531E510DB2}">
      <thm15:themeFamily xmlns:thm15="http://schemas.microsoft.com/office/thememl/2012/main" name="Medical Affairs Oncology 2016 Powerpoint 16x9 Template v09" id="{ACA179DD-8BE9-4D24-9AD3-1927100BABF3}" vid="{C8D36266-0D75-4547-9198-B53A8FE9DC73}"/>
    </a:ext>
  </a:extLst>
</a:theme>
</file>

<file path=ppt/theme/theme2.xml><?xml version="1.0" encoding="utf-8"?>
<a:theme xmlns:a="http://schemas.openxmlformats.org/drawingml/2006/main" name="HCC">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Presentation72" id="{D8FEC87E-E49C-0946-AE93-611A4C9A72AB}" vid="{D5320208-D15C-5847-A573-D5158363CA57}"/>
    </a:ext>
  </a:extLst>
</a:theme>
</file>

<file path=ppt/theme/theme3.xml><?xml version="1.0" encoding="utf-8"?>
<a:theme xmlns:a="http://schemas.openxmlformats.org/drawingml/2006/main" name="1_HCC">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Presentation72" id="{D8FEC87E-E49C-0946-AE93-611A4C9A72AB}" vid="{D5320208-D15C-5847-A573-D5158363CA57}"/>
    </a:ext>
  </a:extLst>
</a:theme>
</file>

<file path=ppt/theme/theme4.xml><?xml version="1.0" encoding="utf-8"?>
<a:theme xmlns:a="http://schemas.openxmlformats.org/drawingml/2006/main" name="2_Office Theme">
  <a:themeElements>
    <a:clrScheme name="Custom 11">
      <a:dk1>
        <a:srgbClr val="223C78"/>
      </a:dk1>
      <a:lt1>
        <a:srgbClr val="FFFFFF"/>
      </a:lt1>
      <a:dk2>
        <a:srgbClr val="939598"/>
      </a:dk2>
      <a:lt2>
        <a:srgbClr val="F3FAFF"/>
      </a:lt2>
      <a:accent1>
        <a:srgbClr val="F16623"/>
      </a:accent1>
      <a:accent2>
        <a:srgbClr val="009EDB"/>
      </a:accent2>
      <a:accent3>
        <a:srgbClr val="B8D6A2"/>
      </a:accent3>
      <a:accent4>
        <a:srgbClr val="223C78"/>
      </a:accent4>
      <a:accent5>
        <a:srgbClr val="404140"/>
      </a:accent5>
      <a:accent6>
        <a:srgbClr val="77787B"/>
      </a:accent6>
      <a:hlink>
        <a:srgbClr val="F16623"/>
      </a:hlink>
      <a:folHlink>
        <a:srgbClr val="77787B"/>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algn="l">
          <a:defRPr sz="8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7bc43322-b630-4bac-8b27-31def233d1d0" ContentTypeId="0x0101" PreviousValue="false"/>
</file>

<file path=customXml/item3.xml><?xml version="1.0" encoding="utf-8"?>
<ct:contentTypeSchema xmlns:ct="http://schemas.microsoft.com/office/2006/metadata/contentType" xmlns:ma="http://schemas.microsoft.com/office/2006/metadata/properties/metaAttributes" ct:_="" ma:_="" ma:contentTypeName="Document" ma:contentTypeID="0x010100066B2E086CF2C243903AC4D389B7F67D" ma:contentTypeVersion="14" ma:contentTypeDescription="Create a new document." ma:contentTypeScope="" ma:versionID="d49b525ad94f7944dbfc05cf72f139f8">
  <xsd:schema xmlns:xsd="http://www.w3.org/2001/XMLSchema" xmlns:xs="http://www.w3.org/2001/XMLSchema" xmlns:p="http://schemas.microsoft.com/office/2006/metadata/properties" xmlns:ns1="http://schemas.microsoft.com/sharepoint/v3" xmlns:ns2="1a4d292e-883c-434b-96e3-060cfff16c86" xmlns:ns3="60e175a8-a91d-45cb-b64c-1894803b351b" xmlns:ns4="5a91a428-e1a2-4fcd-a197-de3b6b3887e8" targetNamespace="http://schemas.microsoft.com/office/2006/metadata/properties" ma:root="true" ma:fieldsID="2e96b00a87f7b1a1ca7714e35dc6dc7d" ns1:_="" ns2:_="" ns3:_="" ns4:_="">
    <xsd:import namespace="http://schemas.microsoft.com/sharepoint/v3"/>
    <xsd:import namespace="1a4d292e-883c-434b-96e3-060cfff16c86"/>
    <xsd:import namespace="60e175a8-a91d-45cb-b64c-1894803b351b"/>
    <xsd:import namespace="5a91a428-e1a2-4fcd-a197-de3b6b3887e8"/>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EventHashCode"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DateTaken" minOccurs="0"/>
                <xsd:element ref="ns3:MediaServiceObjectDetectorVersions" minOccurs="0"/>
                <xsd:element ref="ns3:MediaLengthInSeconds" minOccurs="0"/>
                <xsd:element ref="ns3:lcf76f155ced4ddcb4097134ff3c332f" minOccurs="0"/>
                <xsd:element ref="ns4:SharedWithUsers" minOccurs="0"/>
                <xsd:element ref="ns4:SharedWithDetail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false">
      <xsd:simpleType>
        <xsd:restriction base="dms:Unknown"/>
      </xsd:simpleType>
    </xsd:element>
    <xsd:element name="_dlc_ExpireDateSaved" ma:index="11" nillable="true" ma:displayName="Original Expiration Date" ma:hidden="true" ma:internalName="_dlc_ExpireDateSaved" ma:readOnly="false">
      <xsd:simpleType>
        <xsd:restriction base="dms:DateTime"/>
      </xsd:simpleType>
    </xsd:element>
    <xsd:element name="_dlc_ExpireDate" ma:index="12" nillable="true" ma:displayName="Expiration Date"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9828a39b-429d-4cd1-82b9-e41b43116422}" ma:internalName="TaxCatchAll" ma:showField="CatchAllData" ma:web="5a91a428-e1a2-4fcd-a197-de3b6b3887e8">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9828a39b-429d-4cd1-82b9-e41b43116422}" ma:internalName="TaxCatchAllLabel" ma:readOnly="true" ma:showField="CatchAllDataLabel" ma:web="5a91a428-e1a2-4fcd-a197-de3b6b3887e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0e175a8-a91d-45cb-b64c-1894803b351b" elementFormDefault="qualified">
    <xsd:import namespace="http://schemas.microsoft.com/office/2006/documentManagement/types"/>
    <xsd:import namespace="http://schemas.microsoft.com/office/infopath/2007/PartnerControls"/>
    <xsd:element name="MediaServiceEventHashCode" ma:index="13" nillable="true" ma:displayName="MediaServiceEventHashCode" ma:hidden="true" ma:internalName="MediaServiceEventHashCode" ma:readOnly="true">
      <xsd:simpleType>
        <xsd:restriction base="dms:Text"/>
      </xsd:simple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7bc43322-b630-4bac-8b27-31def233d1d0" ma:termSetId="09814cd3-568e-fe90-9814-8d621ff8fb84" ma:anchorId="fba54fb3-c3e1-fe81-a776-ca4b69148c4d" ma:open="true" ma:isKeyword="false">
      <xsd:complexType>
        <xsd:sequence>
          <xsd:element ref="pc:Terms" minOccurs="0" maxOccurs="1"/>
        </xsd:sequence>
      </xsd:complex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a91a428-e1a2-4fcd-a197-de3b6b3887e8" elementFormDefault="qualified">
    <xsd:import namespace="http://schemas.microsoft.com/office/2006/documentManagement/types"/>
    <xsd:import namespace="http://schemas.microsoft.com/office/infopath/2007/PartnerControls"/>
    <xsd:element name="SharedWithUsers" ma:index="2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TaxCatchAll xmlns="1a4d292e-883c-434b-96e3-060cfff16c86" xsi:nil="true"/>
    <_dlc_ExpireDateSaved xmlns="http://schemas.microsoft.com/sharepoint/v3" xsi:nil="true"/>
    <_dlc_ExpireDate xmlns="http://schemas.microsoft.com/sharepoint/v3" xsi:nil="true"/>
    <_dlc_Exempt xmlns="http://schemas.microsoft.com/sharepoint/v3">false</_dlc_Exempt>
    <SharedWithUsers xmlns="5a91a428-e1a2-4fcd-a197-de3b6b3887e8">
      <UserInfo>
        <DisplayName>Keita Tatsumi</DisplayName>
        <AccountId>2237</AccountId>
        <AccountType/>
      </UserInfo>
    </SharedWithUsers>
    <lcf76f155ced4ddcb4097134ff3c332f xmlns="60e175a8-a91d-45cb-b64c-1894803b351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4046952-0DA8-427C-B44F-214EE4808077}">
  <ds:schemaRefs>
    <ds:schemaRef ds:uri="http://schemas.microsoft.com/sharepoint/v3/contenttype/forms"/>
  </ds:schemaRefs>
</ds:datastoreItem>
</file>

<file path=customXml/itemProps2.xml><?xml version="1.0" encoding="utf-8"?>
<ds:datastoreItem xmlns:ds="http://schemas.openxmlformats.org/officeDocument/2006/customXml" ds:itemID="{B5B94891-03C2-4678-BF95-B6D8A569E0A6}">
  <ds:schemaRefs>
    <ds:schemaRef ds:uri="Microsoft.SharePoint.Taxonomy.ContentTypeSync"/>
  </ds:schemaRefs>
</ds:datastoreItem>
</file>

<file path=customXml/itemProps3.xml><?xml version="1.0" encoding="utf-8"?>
<ds:datastoreItem xmlns:ds="http://schemas.openxmlformats.org/officeDocument/2006/customXml" ds:itemID="{B6BAD32C-A641-4A67-9348-EAAFF9A92F8A}"/>
</file>

<file path=customXml/itemProps4.xml><?xml version="1.0" encoding="utf-8"?>
<ds:datastoreItem xmlns:ds="http://schemas.openxmlformats.org/officeDocument/2006/customXml" ds:itemID="{22F92A86-F938-41CC-AB7E-A636C4467682}">
  <ds:schemaRefs>
    <ds:schemaRef ds:uri="1a4d292e-883c-434b-96e3-060cfff16c86"/>
    <ds:schemaRef ds:uri="1c2a4776-1e04-49a5-a219-f1ba1f6847db"/>
    <ds:schemaRef ds:uri="53e2856d-df16-4b01-b25b-3d1d5cef3a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4a27762e-ff82-4243-8a52-87712e03ee5d"/>
    <ds:schemaRef ds:uri="52c41914-47fd-4263-9e1b-d8877e82f575"/>
  </ds:schemaRefs>
</ds:datastoreItem>
</file>

<file path=docProps/app.xml><?xml version="1.0" encoding="utf-8"?>
<Properties xmlns="http://schemas.openxmlformats.org/officeDocument/2006/extended-properties" xmlns:vt="http://schemas.openxmlformats.org/officeDocument/2006/docPropsVTypes">
  <Template>PR_BAG_PPT-master_16-9_2017-12-06 (2)</Template>
  <TotalTime>0</TotalTime>
  <Words>3277</Words>
  <Application>Microsoft Office PowerPoint</Application>
  <PresentationFormat>Custom</PresentationFormat>
  <Paragraphs>247</Paragraphs>
  <Slides>19</Slides>
  <Notes>16</Notes>
  <HiddenSlides>0</HiddenSlides>
  <MMClips>0</MMClips>
  <ScaleCrop>false</ScaleCrop>
  <HeadingPairs>
    <vt:vector size="6" baseType="variant">
      <vt:variant>
        <vt:lpstr>Fonts Used</vt:lpstr>
      </vt:variant>
      <vt:variant>
        <vt:i4>8</vt:i4>
      </vt:variant>
      <vt:variant>
        <vt:lpstr>Theme</vt:lpstr>
      </vt:variant>
      <vt:variant>
        <vt:i4>5</vt:i4>
      </vt:variant>
      <vt:variant>
        <vt:lpstr>Slide Titles</vt:lpstr>
      </vt:variant>
      <vt:variant>
        <vt:i4>19</vt:i4>
      </vt:variant>
    </vt:vector>
  </HeadingPairs>
  <TitlesOfParts>
    <vt:vector size="32" baseType="lpstr">
      <vt:lpstr>ＭＳ Ｐゴシック</vt:lpstr>
      <vt:lpstr>Aptos</vt:lpstr>
      <vt:lpstr>Arial</vt:lpstr>
      <vt:lpstr>Calibri</vt:lpstr>
      <vt:lpstr>Calibri Light</vt:lpstr>
      <vt:lpstr>Courier New</vt:lpstr>
      <vt:lpstr>Helvetica</vt:lpstr>
      <vt:lpstr>Wingdings</vt:lpstr>
      <vt:lpstr>Medical Affairs Oncology 2016 Powerpoint 16x9 Template v09</vt:lpstr>
      <vt:lpstr>HCC</vt:lpstr>
      <vt:lpstr>1_HCC</vt:lpstr>
      <vt:lpstr>2_Office Theme</vt:lpstr>
      <vt:lpstr>3_Office Theme</vt:lpstr>
      <vt:lpstr> </vt:lpstr>
      <vt:lpstr>Disclaimer</vt:lpstr>
      <vt:lpstr>ARASENS: PSA Response and Association with Clinical Outcomes by Volume and Risk subgroups</vt:lpstr>
      <vt:lpstr>ARASENS: PSA Response and Association with Clinical Outcomes by Volume and Risk subgroups</vt:lpstr>
      <vt:lpstr>ARASENS: PSA Response in Patients With mHSPC – Overall Population</vt:lpstr>
      <vt:lpstr>ARASENS: PSA Response and Association with Clinical Outcomes by Volume and Risk subgroups</vt:lpstr>
      <vt:lpstr>ARASENS: PSA Response and Association with Clinical Outcomes by Volume and Risk subgroups</vt:lpstr>
      <vt:lpstr>ARASENS: Association of PSA response  and Overall survival</vt:lpstr>
      <vt:lpstr>ARASENS: Time to PSA Progressiona - Overall Population</vt:lpstr>
      <vt:lpstr>ARASENS: Time to PSA Progression in High- and Low‑Volume Patients</vt:lpstr>
      <vt:lpstr>ARASENS: Time to PSA Progression</vt:lpstr>
      <vt:lpstr>ARASENS: Association of PSA response and Time to PSA progression</vt:lpstr>
      <vt:lpstr>ARASENS: Association of PSA response and Time to CRPC</vt:lpstr>
      <vt:lpstr>ARASENS: PSA response and Safety</vt:lpstr>
      <vt:lpstr>ARASENS: PSA Response - Overall Population</vt:lpstr>
      <vt:lpstr>PSA Responses of ARI Agents in Patients with mHSPC</vt:lpstr>
      <vt:lpstr>Summary Author Conclusions</vt:lpstr>
      <vt:lpstr>PowerPoint Presentation</vt:lpstr>
      <vt:lpstr>PowerPoint Presentation</vt:lpstr>
    </vt:vector>
  </TitlesOfParts>
  <Company>H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san Spallina</dc:creator>
  <cp:lastModifiedBy>Brianna Lien</cp:lastModifiedBy>
  <cp:revision>91</cp:revision>
  <cp:lastPrinted>2017-10-23T10:44:12Z</cp:lastPrinted>
  <dcterms:created xsi:type="dcterms:W3CDTF">2018-02-01T15:26:32Z</dcterms:created>
  <dcterms:modified xsi:type="dcterms:W3CDTF">2024-06-07T09:1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066B2E086CF2C243903AC4D389B7F67D</vt:lpwstr>
  </property>
  <property fmtid="{D5CDD505-2E9C-101B-9397-08002B2CF9AE}" pid="4" name="c2b5fb8256bd435bb7806ac3891e195b">
    <vt:lpwstr>Short-Term|6d967203-8346-4b9c-90f8-b3828a3fa508</vt:lpwstr>
  </property>
  <property fmtid="{D5CDD505-2E9C-101B-9397-08002B2CF9AE}" pid="5" name="DataClassBayerRetention">
    <vt:lpwstr>1;#Short-Term|6d967203-8346-4b9c-90f8-b3828a3fa508</vt:lpwstr>
  </property>
  <property fmtid="{D5CDD505-2E9C-101B-9397-08002B2CF9AE}" pid="6" name="MediaServiceImageTags">
    <vt:lpwstr/>
  </property>
  <property fmtid="{D5CDD505-2E9C-101B-9397-08002B2CF9AE}" pid="7" name="Order">
    <vt:r8>176200</vt:r8>
  </property>
  <property fmtid="{D5CDD505-2E9C-101B-9397-08002B2CF9AE}" pid="8" name="xd_Signature">
    <vt:bool>false</vt:bool>
  </property>
  <property fmtid="{D5CDD505-2E9C-101B-9397-08002B2CF9AE}" pid="9" name="xd_ProgID">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MSIP_Label_7f850223-87a8-40c3-9eb2-432606efca2a_Enabled">
    <vt:lpwstr>true</vt:lpwstr>
  </property>
  <property fmtid="{D5CDD505-2E9C-101B-9397-08002B2CF9AE}" pid="15" name="MSIP_Label_7f850223-87a8-40c3-9eb2-432606efca2a_SetDate">
    <vt:lpwstr>2024-05-06T15:16:57Z</vt:lpwstr>
  </property>
  <property fmtid="{D5CDD505-2E9C-101B-9397-08002B2CF9AE}" pid="16" name="MSIP_Label_7f850223-87a8-40c3-9eb2-432606efca2a_Method">
    <vt:lpwstr>Privileged</vt:lpwstr>
  </property>
  <property fmtid="{D5CDD505-2E9C-101B-9397-08002B2CF9AE}" pid="17" name="MSIP_Label_7f850223-87a8-40c3-9eb2-432606efca2a_Name">
    <vt:lpwstr>7f850223-87a8-40c3-9eb2-432606efca2a</vt:lpwstr>
  </property>
  <property fmtid="{D5CDD505-2E9C-101B-9397-08002B2CF9AE}" pid="18" name="MSIP_Label_7f850223-87a8-40c3-9eb2-432606efca2a_SiteId">
    <vt:lpwstr>fcb2b37b-5da0-466b-9b83-0014b67a7c78</vt:lpwstr>
  </property>
  <property fmtid="{D5CDD505-2E9C-101B-9397-08002B2CF9AE}" pid="19" name="MSIP_Label_7f850223-87a8-40c3-9eb2-432606efca2a_ActionId">
    <vt:lpwstr>93b833f8-ead0-4131-a6bf-1d41114c216f</vt:lpwstr>
  </property>
  <property fmtid="{D5CDD505-2E9C-101B-9397-08002B2CF9AE}" pid="20" name="MSIP_Label_7f850223-87a8-40c3-9eb2-432606efca2a_ContentBits">
    <vt:lpwstr>0</vt:lpwstr>
  </property>
</Properties>
</file>